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9"/>
  </p:notesMasterIdLst>
  <p:sldIdLst>
    <p:sldId id="354" r:id="rId5"/>
    <p:sldId id="258" r:id="rId6"/>
    <p:sldId id="298" r:id="rId7"/>
    <p:sldId id="423" r:id="rId8"/>
    <p:sldId id="386" r:id="rId9"/>
    <p:sldId id="431" r:id="rId10"/>
    <p:sldId id="432" r:id="rId11"/>
    <p:sldId id="433" r:id="rId12"/>
    <p:sldId id="424" r:id="rId13"/>
    <p:sldId id="394" r:id="rId14"/>
    <p:sldId id="397" r:id="rId15"/>
    <p:sldId id="427" r:id="rId16"/>
    <p:sldId id="372" r:id="rId17"/>
    <p:sldId id="430" r:id="rId18"/>
    <p:sldId id="418" r:id="rId19"/>
    <p:sldId id="425" r:id="rId20"/>
    <p:sldId id="421" r:id="rId21"/>
    <p:sldId id="426" r:id="rId22"/>
    <p:sldId id="367" r:id="rId23"/>
    <p:sldId id="417" r:id="rId24"/>
    <p:sldId id="422" r:id="rId25"/>
    <p:sldId id="434" r:id="rId26"/>
    <p:sldId id="410" r:id="rId27"/>
    <p:sldId id="42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FF9900"/>
    <a:srgbClr val="3366CC"/>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F48301-58CC-429A-87E6-2E80A2705582}" v="178" dt="2023-06-26T12:58:42.6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77" autoAdjust="0"/>
    <p:restoredTop sz="80964" autoAdjust="0"/>
  </p:normalViewPr>
  <p:slideViewPr>
    <p:cSldViewPr snapToGrid="0">
      <p:cViewPr varScale="1">
        <p:scale>
          <a:sx n="92" d="100"/>
          <a:sy n="92" d="100"/>
        </p:scale>
        <p:origin x="80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ma Asaf" userId="S::asma.asaf@vizioconsulting.com::9b561e9a-c983-44ab-a1b6-b6d7dd3a4785" providerId="AD" clId="Web-{B444DBBB-0E39-44D2-8ED7-DD9EFEE0057B}"/>
    <pc:docChg chg="addSld delSld">
      <pc:chgData name="Asma Asaf" userId="S::asma.asaf@vizioconsulting.com::9b561e9a-c983-44ab-a1b6-b6d7dd3a4785" providerId="AD" clId="Web-{B444DBBB-0E39-44D2-8ED7-DD9EFEE0057B}" dt="2023-02-15T16:41:14.592" v="1"/>
      <pc:docMkLst>
        <pc:docMk/>
      </pc:docMkLst>
      <pc:sldChg chg="del">
        <pc:chgData name="Asma Asaf" userId="S::asma.asaf@vizioconsulting.com::9b561e9a-c983-44ab-a1b6-b6d7dd3a4785" providerId="AD" clId="Web-{B444DBBB-0E39-44D2-8ED7-DD9EFEE0057B}" dt="2023-02-15T16:41:14.592" v="1"/>
        <pc:sldMkLst>
          <pc:docMk/>
          <pc:sldMk cId="2872438719" sldId="420"/>
        </pc:sldMkLst>
      </pc:sldChg>
      <pc:sldChg chg="add">
        <pc:chgData name="Asma Asaf" userId="S::asma.asaf@vizioconsulting.com::9b561e9a-c983-44ab-a1b6-b6d7dd3a4785" providerId="AD" clId="Web-{B444DBBB-0E39-44D2-8ED7-DD9EFEE0057B}" dt="2023-02-15T16:41:04.904" v="0"/>
        <pc:sldMkLst>
          <pc:docMk/>
          <pc:sldMk cId="1202482590" sldId="430"/>
        </pc:sldMkLst>
      </pc:sldChg>
    </pc:docChg>
  </pc:docChgLst>
  <pc:docChgLst>
    <pc:chgData name="Asma Asaf" userId="S::asma.asaf@vizioconsulting.com::9b561e9a-c983-44ab-a1b6-b6d7dd3a4785" providerId="AD" clId="Web-{4A7F0C45-BF6E-4B7C-BF89-08AF4921CBEA}"/>
    <pc:docChg chg="modSld">
      <pc:chgData name="Asma Asaf" userId="S::asma.asaf@vizioconsulting.com::9b561e9a-c983-44ab-a1b6-b6d7dd3a4785" providerId="AD" clId="Web-{4A7F0C45-BF6E-4B7C-BF89-08AF4921CBEA}" dt="2023-02-16T16:15:48.966" v="9"/>
      <pc:docMkLst>
        <pc:docMk/>
      </pc:docMkLst>
      <pc:sldChg chg="addSp delSp modSp">
        <pc:chgData name="Asma Asaf" userId="S::asma.asaf@vizioconsulting.com::9b561e9a-c983-44ab-a1b6-b6d7dd3a4785" providerId="AD" clId="Web-{4A7F0C45-BF6E-4B7C-BF89-08AF4921CBEA}" dt="2023-02-16T16:15:48.966" v="9"/>
        <pc:sldMkLst>
          <pc:docMk/>
          <pc:sldMk cId="3516959239" sldId="372"/>
        </pc:sldMkLst>
        <pc:spChg chg="del">
          <ac:chgData name="Asma Asaf" userId="S::asma.asaf@vizioconsulting.com::9b561e9a-c983-44ab-a1b6-b6d7dd3a4785" providerId="AD" clId="Web-{4A7F0C45-BF6E-4B7C-BF89-08AF4921CBEA}" dt="2023-02-16T16:14:55.090" v="1"/>
          <ac:spMkLst>
            <pc:docMk/>
            <pc:sldMk cId="3516959239" sldId="372"/>
            <ac:spMk id="4" creationId="{5581430D-6320-AA85-A4A6-8D33BD8DA4C5}"/>
          </ac:spMkLst>
        </pc:spChg>
        <pc:spChg chg="mod">
          <ac:chgData name="Asma Asaf" userId="S::asma.asaf@vizioconsulting.com::9b561e9a-c983-44ab-a1b6-b6d7dd3a4785" providerId="AD" clId="Web-{4A7F0C45-BF6E-4B7C-BF89-08AF4921CBEA}" dt="2023-02-16T16:15:25.309" v="3" actId="20577"/>
          <ac:spMkLst>
            <pc:docMk/>
            <pc:sldMk cId="3516959239" sldId="372"/>
            <ac:spMk id="35" creationId="{B9E8C3FC-6FEB-481A-851C-ECD13F8DBC71}"/>
          </ac:spMkLst>
        </pc:spChg>
        <pc:picChg chg="add mod ord">
          <ac:chgData name="Asma Asaf" userId="S::asma.asaf@vizioconsulting.com::9b561e9a-c983-44ab-a1b6-b6d7dd3a4785" providerId="AD" clId="Web-{4A7F0C45-BF6E-4B7C-BF89-08AF4921CBEA}" dt="2023-02-16T16:15:48.966" v="9"/>
          <ac:picMkLst>
            <pc:docMk/>
            <pc:sldMk cId="3516959239" sldId="372"/>
            <ac:picMk id="2" creationId="{FBB7F738-B271-AD9F-7798-976E8F988CC6}"/>
          </ac:picMkLst>
        </pc:picChg>
        <pc:picChg chg="del">
          <ac:chgData name="Asma Asaf" userId="S::asma.asaf@vizioconsulting.com::9b561e9a-c983-44ab-a1b6-b6d7dd3a4785" providerId="AD" clId="Web-{4A7F0C45-BF6E-4B7C-BF89-08AF4921CBEA}" dt="2023-02-16T16:14:52.527" v="0"/>
          <ac:picMkLst>
            <pc:docMk/>
            <pc:sldMk cId="3516959239" sldId="372"/>
            <ac:picMk id="7" creationId="{25F8FF78-4327-70F9-7ACC-8839A48F3016}"/>
          </ac:picMkLst>
        </pc:picChg>
      </pc:sldChg>
    </pc:docChg>
  </pc:docChgLst>
  <pc:docChgLst>
    <pc:chgData name="Asma Asaf" userId="S::asma.asaf@vizioconsulting.com::b01986fe-d90a-43a8-afc8-ec6e820251fe" providerId="AD" clId="Web-{F1E147EB-350C-4455-809B-27682FDC7D89}"/>
    <pc:docChg chg="mod sldOrd">
      <pc:chgData name="Asma Asaf" userId="S::asma.asaf@vizioconsulting.com::b01986fe-d90a-43a8-afc8-ec6e820251fe" providerId="AD" clId="Web-{F1E147EB-350C-4455-809B-27682FDC7D89}" dt="2023-02-28T03:24:12.246" v="1"/>
      <pc:docMkLst>
        <pc:docMk/>
      </pc:docMkLst>
      <pc:sldChg chg="ord">
        <pc:chgData name="Asma Asaf" userId="S::asma.asaf@vizioconsulting.com::b01986fe-d90a-43a8-afc8-ec6e820251fe" providerId="AD" clId="Web-{F1E147EB-350C-4455-809B-27682FDC7D89}" dt="2023-02-28T03:24:12.246" v="1"/>
        <pc:sldMkLst>
          <pc:docMk/>
          <pc:sldMk cId="227027524" sldId="429"/>
        </pc:sldMkLst>
      </pc:sldChg>
    </pc:docChg>
  </pc:docChgLst>
  <pc:docChgLst>
    <pc:chgData name="Asma Asaf" userId="b01986fe-d90a-43a8-afc8-ec6e820251fe" providerId="ADAL" clId="{4BD0E67E-34F1-4F34-ACF4-C97566386D16}"/>
    <pc:docChg chg="modSld sldOrd">
      <pc:chgData name="Asma Asaf" userId="b01986fe-d90a-43a8-afc8-ec6e820251fe" providerId="ADAL" clId="{4BD0E67E-34F1-4F34-ACF4-C97566386D16}" dt="2023-04-28T03:08:50.460" v="53"/>
      <pc:docMkLst>
        <pc:docMk/>
      </pc:docMkLst>
      <pc:sldChg chg="ord">
        <pc:chgData name="Asma Asaf" userId="b01986fe-d90a-43a8-afc8-ec6e820251fe" providerId="ADAL" clId="{4BD0E67E-34F1-4F34-ACF4-C97566386D16}" dt="2023-04-28T03:08:50.460" v="53"/>
        <pc:sldMkLst>
          <pc:docMk/>
          <pc:sldMk cId="3975107461" sldId="367"/>
        </pc:sldMkLst>
      </pc:sldChg>
      <pc:sldChg chg="modSp mod">
        <pc:chgData name="Asma Asaf" userId="b01986fe-d90a-43a8-afc8-ec6e820251fe" providerId="ADAL" clId="{4BD0E67E-34F1-4F34-ACF4-C97566386D16}" dt="2023-04-20T02:39:56.525" v="48" actId="14100"/>
        <pc:sldMkLst>
          <pc:docMk/>
          <pc:sldMk cId="1747975218" sldId="388"/>
        </pc:sldMkLst>
        <pc:picChg chg="mod">
          <ac:chgData name="Asma Asaf" userId="b01986fe-d90a-43a8-afc8-ec6e820251fe" providerId="ADAL" clId="{4BD0E67E-34F1-4F34-ACF4-C97566386D16}" dt="2023-04-20T02:39:56.525" v="48" actId="14100"/>
          <ac:picMkLst>
            <pc:docMk/>
            <pc:sldMk cId="1747975218" sldId="388"/>
            <ac:picMk id="2" creationId="{6C77B86F-4D88-EF43-193B-B9DAB5AA4500}"/>
          </ac:picMkLst>
        </pc:picChg>
      </pc:sldChg>
      <pc:sldChg chg="modSp mod">
        <pc:chgData name="Asma Asaf" userId="b01986fe-d90a-43a8-afc8-ec6e820251fe" providerId="ADAL" clId="{4BD0E67E-34F1-4F34-ACF4-C97566386D16}" dt="2023-04-28T03:07:14.787" v="51" actId="1076"/>
        <pc:sldMkLst>
          <pc:docMk/>
          <pc:sldMk cId="2966953769" sldId="394"/>
        </pc:sldMkLst>
        <pc:picChg chg="mod">
          <ac:chgData name="Asma Asaf" userId="b01986fe-d90a-43a8-afc8-ec6e820251fe" providerId="ADAL" clId="{4BD0E67E-34F1-4F34-ACF4-C97566386D16}" dt="2023-04-28T03:07:14.787" v="51" actId="1076"/>
          <ac:picMkLst>
            <pc:docMk/>
            <pc:sldMk cId="2966953769" sldId="394"/>
            <ac:picMk id="11" creationId="{CB4DC925-6BF7-B1D6-240E-901CC46C2F1C}"/>
          </ac:picMkLst>
        </pc:picChg>
        <pc:picChg chg="mod">
          <ac:chgData name="Asma Asaf" userId="b01986fe-d90a-43a8-afc8-ec6e820251fe" providerId="ADAL" clId="{4BD0E67E-34F1-4F34-ACF4-C97566386D16}" dt="2023-04-28T03:06:32.336" v="50" actId="1076"/>
          <ac:picMkLst>
            <pc:docMk/>
            <pc:sldMk cId="2966953769" sldId="394"/>
            <ac:picMk id="13" creationId="{D937856E-8284-459F-B980-A9EDAE4FC2F3}"/>
          </ac:picMkLst>
        </pc:picChg>
      </pc:sldChg>
      <pc:sldChg chg="modSp">
        <pc:chgData name="Asma Asaf" userId="b01986fe-d90a-43a8-afc8-ec6e820251fe" providerId="ADAL" clId="{4BD0E67E-34F1-4F34-ACF4-C97566386D16}" dt="2023-04-20T02:38:13.643" v="47" actId="20577"/>
        <pc:sldMkLst>
          <pc:docMk/>
          <pc:sldMk cId="388648712" sldId="411"/>
        </pc:sldMkLst>
        <pc:graphicFrameChg chg="mod">
          <ac:chgData name="Asma Asaf" userId="b01986fe-d90a-43a8-afc8-ec6e820251fe" providerId="ADAL" clId="{4BD0E67E-34F1-4F34-ACF4-C97566386D16}" dt="2023-04-20T02:38:13.643" v="47" actId="20577"/>
          <ac:graphicFrameMkLst>
            <pc:docMk/>
            <pc:sldMk cId="388648712" sldId="411"/>
            <ac:graphicFrameMk id="2" creationId="{3F475A6A-188D-B6E3-19C4-614A20A6830B}"/>
          </ac:graphicFrameMkLst>
        </pc:graphicFrameChg>
      </pc:sldChg>
      <pc:sldChg chg="modSp mod">
        <pc:chgData name="Asma Asaf" userId="b01986fe-d90a-43a8-afc8-ec6e820251fe" providerId="ADAL" clId="{4BD0E67E-34F1-4F34-ACF4-C97566386D16}" dt="2023-04-20T03:04:22.462" v="49" actId="1076"/>
        <pc:sldMkLst>
          <pc:docMk/>
          <pc:sldMk cId="342732917" sldId="421"/>
        </pc:sldMkLst>
        <pc:picChg chg="mod">
          <ac:chgData name="Asma Asaf" userId="b01986fe-d90a-43a8-afc8-ec6e820251fe" providerId="ADAL" clId="{4BD0E67E-34F1-4F34-ACF4-C97566386D16}" dt="2023-04-20T03:04:22.462" v="49" actId="1076"/>
          <ac:picMkLst>
            <pc:docMk/>
            <pc:sldMk cId="342732917" sldId="421"/>
            <ac:picMk id="5" creationId="{3DDED2ED-48B1-2E38-7394-C24601CAE306}"/>
          </ac:picMkLst>
        </pc:picChg>
      </pc:sldChg>
    </pc:docChg>
  </pc:docChgLst>
  <pc:docChgLst>
    <pc:chgData name="Asma Asaf" userId="b01986fe-d90a-43a8-afc8-ec6e820251fe" providerId="ADAL" clId="{3AF48301-58CC-429A-87E6-2E80A2705582}"/>
    <pc:docChg chg="undo custSel addSld delSld modSld sldOrd">
      <pc:chgData name="Asma Asaf" userId="b01986fe-d90a-43a8-afc8-ec6e820251fe" providerId="ADAL" clId="{3AF48301-58CC-429A-87E6-2E80A2705582}" dt="2023-06-26T12:59:12.870" v="619" actId="1038"/>
      <pc:docMkLst>
        <pc:docMk/>
      </pc:docMkLst>
      <pc:sldChg chg="addSp delSp modSp mod">
        <pc:chgData name="Asma Asaf" userId="b01986fe-d90a-43a8-afc8-ec6e820251fe" providerId="ADAL" clId="{3AF48301-58CC-429A-87E6-2E80A2705582}" dt="2023-06-26T12:59:12.870" v="619" actId="1038"/>
        <pc:sldMkLst>
          <pc:docMk/>
          <pc:sldMk cId="3930312824" sldId="258"/>
        </pc:sldMkLst>
        <pc:spChg chg="mod">
          <ac:chgData name="Asma Asaf" userId="b01986fe-d90a-43a8-afc8-ec6e820251fe" providerId="ADAL" clId="{3AF48301-58CC-429A-87E6-2E80A2705582}" dt="2023-06-26T12:41:23.505" v="497" actId="20577"/>
          <ac:spMkLst>
            <pc:docMk/>
            <pc:sldMk cId="3930312824" sldId="258"/>
            <ac:spMk id="5" creationId="{54E6DCAA-0668-4A1F-8A3E-CE4CB0EF16A5}"/>
          </ac:spMkLst>
        </pc:spChg>
        <pc:spChg chg="del">
          <ac:chgData name="Asma Asaf" userId="b01986fe-d90a-43a8-afc8-ec6e820251fe" providerId="ADAL" clId="{3AF48301-58CC-429A-87E6-2E80A2705582}" dt="2023-06-16T02:37:10.459" v="33" actId="478"/>
          <ac:spMkLst>
            <pc:docMk/>
            <pc:sldMk cId="3930312824" sldId="258"/>
            <ac:spMk id="8" creationId="{48C580C9-03EF-D827-A1D3-58012B837DE2}"/>
          </ac:spMkLst>
        </pc:spChg>
        <pc:spChg chg="mod">
          <ac:chgData name="Asma Asaf" userId="b01986fe-d90a-43a8-afc8-ec6e820251fe" providerId="ADAL" clId="{3AF48301-58CC-429A-87E6-2E80A2705582}" dt="2023-06-16T02:37:08.767" v="32" actId="1076"/>
          <ac:spMkLst>
            <pc:docMk/>
            <pc:sldMk cId="3930312824" sldId="258"/>
            <ac:spMk id="10" creationId="{54B186C5-21CF-6D67-EF40-22DA649BD346}"/>
          </ac:spMkLst>
        </pc:spChg>
        <pc:spChg chg="del mod">
          <ac:chgData name="Asma Asaf" userId="b01986fe-d90a-43a8-afc8-ec6e820251fe" providerId="ADAL" clId="{3AF48301-58CC-429A-87E6-2E80A2705582}" dt="2023-06-16T02:36:49.011" v="29" actId="478"/>
          <ac:spMkLst>
            <pc:docMk/>
            <pc:sldMk cId="3930312824" sldId="258"/>
            <ac:spMk id="14" creationId="{E4F2EAD7-3A0F-417C-8E9E-CB874EA2FDE9}"/>
          </ac:spMkLst>
        </pc:spChg>
        <pc:spChg chg="mod">
          <ac:chgData name="Asma Asaf" userId="b01986fe-d90a-43a8-afc8-ec6e820251fe" providerId="ADAL" clId="{3AF48301-58CC-429A-87E6-2E80A2705582}" dt="2023-06-16T02:37:30.329" v="61" actId="20577"/>
          <ac:spMkLst>
            <pc:docMk/>
            <pc:sldMk cId="3930312824" sldId="258"/>
            <ac:spMk id="16" creationId="{41E1E9DB-AA61-4CE8-5253-9152D21995D1}"/>
          </ac:spMkLst>
        </pc:spChg>
        <pc:spChg chg="mod">
          <ac:chgData name="Asma Asaf" userId="b01986fe-d90a-43a8-afc8-ec6e820251fe" providerId="ADAL" clId="{3AF48301-58CC-429A-87E6-2E80A2705582}" dt="2023-06-16T02:37:13.564" v="34" actId="1076"/>
          <ac:spMkLst>
            <pc:docMk/>
            <pc:sldMk cId="3930312824" sldId="258"/>
            <ac:spMk id="27" creationId="{79CA1FD8-B605-4201-8645-42FB505352F5}"/>
          </ac:spMkLst>
        </pc:spChg>
        <pc:picChg chg="add mod">
          <ac:chgData name="Asma Asaf" userId="b01986fe-d90a-43a8-afc8-ec6e820251fe" providerId="ADAL" clId="{3AF48301-58CC-429A-87E6-2E80A2705582}" dt="2023-06-26T12:59:12.870" v="619" actId="1038"/>
          <ac:picMkLst>
            <pc:docMk/>
            <pc:sldMk cId="3930312824" sldId="258"/>
            <ac:picMk id="9" creationId="{93C5CCFA-DB66-0765-60C6-88A7031CF2E4}"/>
          </ac:picMkLst>
        </pc:picChg>
        <pc:picChg chg="del">
          <ac:chgData name="Asma Asaf" userId="b01986fe-d90a-43a8-afc8-ec6e820251fe" providerId="ADAL" clId="{3AF48301-58CC-429A-87E6-2E80A2705582}" dt="2023-06-26T12:59:03.612" v="580" actId="478"/>
          <ac:picMkLst>
            <pc:docMk/>
            <pc:sldMk cId="3930312824" sldId="258"/>
            <ac:picMk id="217" creationId="{15DAD5AD-4E8B-44EC-AA9C-20EBA2A5AF97}"/>
          </ac:picMkLst>
        </pc:picChg>
      </pc:sldChg>
      <pc:sldChg chg="modSp mod">
        <pc:chgData name="Asma Asaf" userId="b01986fe-d90a-43a8-afc8-ec6e820251fe" providerId="ADAL" clId="{3AF48301-58CC-429A-87E6-2E80A2705582}" dt="2023-06-16T02:38:59.497" v="62" actId="20577"/>
        <pc:sldMkLst>
          <pc:docMk/>
          <pc:sldMk cId="2570646865" sldId="298"/>
        </pc:sldMkLst>
        <pc:spChg chg="mod">
          <ac:chgData name="Asma Asaf" userId="b01986fe-d90a-43a8-afc8-ec6e820251fe" providerId="ADAL" clId="{3AF48301-58CC-429A-87E6-2E80A2705582}" dt="2023-06-16T02:38:59.497" v="62" actId="20577"/>
          <ac:spMkLst>
            <pc:docMk/>
            <pc:sldMk cId="2570646865" sldId="298"/>
            <ac:spMk id="2" creationId="{A227BD4E-587B-B654-3D1C-8ACAB901D10D}"/>
          </ac:spMkLst>
        </pc:spChg>
      </pc:sldChg>
      <pc:sldChg chg="addSp delSp modSp mod">
        <pc:chgData name="Asma Asaf" userId="b01986fe-d90a-43a8-afc8-ec6e820251fe" providerId="ADAL" clId="{3AF48301-58CC-429A-87E6-2E80A2705582}" dt="2023-06-26T12:55:18.490" v="563" actId="14100"/>
        <pc:sldMkLst>
          <pc:docMk/>
          <pc:sldMk cId="1454483678" sldId="354"/>
        </pc:sldMkLst>
        <pc:spChg chg="mod">
          <ac:chgData name="Asma Asaf" userId="b01986fe-d90a-43a8-afc8-ec6e820251fe" providerId="ADAL" clId="{3AF48301-58CC-429A-87E6-2E80A2705582}" dt="2023-06-16T02:36:35.786" v="27" actId="113"/>
          <ac:spMkLst>
            <pc:docMk/>
            <pc:sldMk cId="1454483678" sldId="354"/>
            <ac:spMk id="3" creationId="{2B52A62F-4B64-46E7-9DF5-EE4EF3288901}"/>
          </ac:spMkLst>
        </pc:spChg>
        <pc:spChg chg="mod">
          <ac:chgData name="Asma Asaf" userId="b01986fe-d90a-43a8-afc8-ec6e820251fe" providerId="ADAL" clId="{3AF48301-58CC-429A-87E6-2E80A2705582}" dt="2023-06-16T02:36:14.579" v="17"/>
          <ac:spMkLst>
            <pc:docMk/>
            <pc:sldMk cId="1454483678" sldId="354"/>
            <ac:spMk id="5" creationId="{3857016F-668A-D98E-561C-F65C88558E70}"/>
          </ac:spMkLst>
        </pc:spChg>
        <pc:spChg chg="mod">
          <ac:chgData name="Asma Asaf" userId="b01986fe-d90a-43a8-afc8-ec6e820251fe" providerId="ADAL" clId="{3AF48301-58CC-429A-87E6-2E80A2705582}" dt="2023-06-16T02:36:22.788" v="25" actId="20577"/>
          <ac:spMkLst>
            <pc:docMk/>
            <pc:sldMk cId="1454483678" sldId="354"/>
            <ac:spMk id="6" creationId="{B2B71FCD-FC35-1C04-2512-AA48DBF4FB3B}"/>
          </ac:spMkLst>
        </pc:spChg>
        <pc:grpChg chg="add mod">
          <ac:chgData name="Asma Asaf" userId="b01986fe-d90a-43a8-afc8-ec6e820251fe" providerId="ADAL" clId="{3AF48301-58CC-429A-87E6-2E80A2705582}" dt="2023-06-16T02:36:29.996" v="26" actId="1076"/>
          <ac:grpSpMkLst>
            <pc:docMk/>
            <pc:sldMk cId="1454483678" sldId="354"/>
            <ac:grpSpMk id="4" creationId="{7DF35C11-0C55-9613-995E-CEBDE30190CF}"/>
          </ac:grpSpMkLst>
        </pc:grpChg>
        <pc:picChg chg="add mod">
          <ac:chgData name="Asma Asaf" userId="b01986fe-d90a-43a8-afc8-ec6e820251fe" providerId="ADAL" clId="{3AF48301-58CC-429A-87E6-2E80A2705582}" dt="2023-06-26T12:55:18.490" v="563" actId="14100"/>
          <ac:picMkLst>
            <pc:docMk/>
            <pc:sldMk cId="1454483678" sldId="354"/>
            <ac:picMk id="8" creationId="{B9F20F89-B166-2086-F48D-52813DA31D34}"/>
          </ac:picMkLst>
        </pc:picChg>
        <pc:picChg chg="del">
          <ac:chgData name="Asma Asaf" userId="b01986fe-d90a-43a8-afc8-ec6e820251fe" providerId="ADAL" clId="{3AF48301-58CC-429A-87E6-2E80A2705582}" dt="2023-06-26T12:53:42.099" v="553" actId="478"/>
          <ac:picMkLst>
            <pc:docMk/>
            <pc:sldMk cId="1454483678" sldId="354"/>
            <ac:picMk id="15" creationId="{E16FA8EF-7161-4651-A467-5F0C81049C9D}"/>
          </ac:picMkLst>
        </pc:picChg>
      </pc:sldChg>
      <pc:sldChg chg="del">
        <pc:chgData name="Asma Asaf" userId="b01986fe-d90a-43a8-afc8-ec6e820251fe" providerId="ADAL" clId="{3AF48301-58CC-429A-87E6-2E80A2705582}" dt="2023-06-16T02:40:03.596" v="95" actId="47"/>
        <pc:sldMkLst>
          <pc:docMk/>
          <pc:sldMk cId="901107742" sldId="369"/>
        </pc:sldMkLst>
      </pc:sldChg>
      <pc:sldChg chg="modSp mod">
        <pc:chgData name="Asma Asaf" userId="b01986fe-d90a-43a8-afc8-ec6e820251fe" providerId="ADAL" clId="{3AF48301-58CC-429A-87E6-2E80A2705582}" dt="2023-06-16T03:03:18.546" v="496" actId="20577"/>
        <pc:sldMkLst>
          <pc:docMk/>
          <pc:sldMk cId="3800978221" sldId="386"/>
        </pc:sldMkLst>
        <pc:spChg chg="mod">
          <ac:chgData name="Asma Asaf" userId="b01986fe-d90a-43a8-afc8-ec6e820251fe" providerId="ADAL" clId="{3AF48301-58CC-429A-87E6-2E80A2705582}" dt="2023-06-16T03:03:18.546" v="496" actId="20577"/>
          <ac:spMkLst>
            <pc:docMk/>
            <pc:sldMk cId="3800978221" sldId="386"/>
            <ac:spMk id="76" creationId="{3771BE66-4556-4FBB-B78A-D271FA16E9B6}"/>
          </ac:spMkLst>
        </pc:spChg>
        <pc:spChg chg="mod">
          <ac:chgData name="Asma Asaf" userId="b01986fe-d90a-43a8-afc8-ec6e820251fe" providerId="ADAL" clId="{3AF48301-58CC-429A-87E6-2E80A2705582}" dt="2023-06-16T02:39:07.964" v="63" actId="20577"/>
          <ac:spMkLst>
            <pc:docMk/>
            <pc:sldMk cId="3800978221" sldId="386"/>
            <ac:spMk id="83" creationId="{2F7253C6-4D2E-43F4-B4D5-3E25A337C9A9}"/>
          </ac:spMkLst>
        </pc:spChg>
      </pc:sldChg>
      <pc:sldChg chg="addSp delSp modSp del mod">
        <pc:chgData name="Asma Asaf" userId="b01986fe-d90a-43a8-afc8-ec6e820251fe" providerId="ADAL" clId="{3AF48301-58CC-429A-87E6-2E80A2705582}" dt="2023-06-16T02:42:57.193" v="168" actId="47"/>
        <pc:sldMkLst>
          <pc:docMk/>
          <pc:sldMk cId="1747975218" sldId="388"/>
        </pc:sldMkLst>
        <pc:spChg chg="mod">
          <ac:chgData name="Asma Asaf" userId="b01986fe-d90a-43a8-afc8-ec6e820251fe" providerId="ADAL" clId="{3AF48301-58CC-429A-87E6-2E80A2705582}" dt="2023-06-16T02:41:57.956" v="132"/>
          <ac:spMkLst>
            <pc:docMk/>
            <pc:sldMk cId="1747975218" sldId="388"/>
            <ac:spMk id="4" creationId="{B90E4386-7304-FCA2-5751-EA98CB0F5A18}"/>
          </ac:spMkLst>
        </pc:spChg>
        <pc:spChg chg="mod">
          <ac:chgData name="Asma Asaf" userId="b01986fe-d90a-43a8-afc8-ec6e820251fe" providerId="ADAL" clId="{3AF48301-58CC-429A-87E6-2E80A2705582}" dt="2023-06-16T02:41:57.956" v="132"/>
          <ac:spMkLst>
            <pc:docMk/>
            <pc:sldMk cId="1747975218" sldId="388"/>
            <ac:spMk id="6" creationId="{AF34A688-57A8-895C-B3DC-B05699D5188A}"/>
          </ac:spMkLst>
        </pc:spChg>
        <pc:spChg chg="mod">
          <ac:chgData name="Asma Asaf" userId="b01986fe-d90a-43a8-afc8-ec6e820251fe" providerId="ADAL" clId="{3AF48301-58CC-429A-87E6-2E80A2705582}" dt="2023-06-16T02:41:57.956" v="132"/>
          <ac:spMkLst>
            <pc:docMk/>
            <pc:sldMk cId="1747975218" sldId="388"/>
            <ac:spMk id="7" creationId="{F0E5B663-9EFA-1EDE-800C-6324E92D5084}"/>
          </ac:spMkLst>
        </pc:spChg>
        <pc:spChg chg="mod">
          <ac:chgData name="Asma Asaf" userId="b01986fe-d90a-43a8-afc8-ec6e820251fe" providerId="ADAL" clId="{3AF48301-58CC-429A-87E6-2E80A2705582}" dt="2023-06-16T02:41:57.956" v="132"/>
          <ac:spMkLst>
            <pc:docMk/>
            <pc:sldMk cId="1747975218" sldId="388"/>
            <ac:spMk id="8" creationId="{1E54235C-CCF2-6822-A9AD-D285B0829FBF}"/>
          </ac:spMkLst>
        </pc:spChg>
        <pc:spChg chg="mod">
          <ac:chgData name="Asma Asaf" userId="b01986fe-d90a-43a8-afc8-ec6e820251fe" providerId="ADAL" clId="{3AF48301-58CC-429A-87E6-2E80A2705582}" dt="2023-06-16T02:41:57.956" v="132"/>
          <ac:spMkLst>
            <pc:docMk/>
            <pc:sldMk cId="1747975218" sldId="388"/>
            <ac:spMk id="9" creationId="{1715D532-F390-4B66-AC94-FAC36F92ED47}"/>
          </ac:spMkLst>
        </pc:spChg>
        <pc:spChg chg="mod">
          <ac:chgData name="Asma Asaf" userId="b01986fe-d90a-43a8-afc8-ec6e820251fe" providerId="ADAL" clId="{3AF48301-58CC-429A-87E6-2E80A2705582}" dt="2023-06-16T02:41:57.956" v="132"/>
          <ac:spMkLst>
            <pc:docMk/>
            <pc:sldMk cId="1747975218" sldId="388"/>
            <ac:spMk id="10" creationId="{CA323295-48CC-46B3-DECC-E996A577E180}"/>
          </ac:spMkLst>
        </pc:spChg>
        <pc:spChg chg="mod">
          <ac:chgData name="Asma Asaf" userId="b01986fe-d90a-43a8-afc8-ec6e820251fe" providerId="ADAL" clId="{3AF48301-58CC-429A-87E6-2E80A2705582}" dt="2023-06-16T02:41:57.956" v="132"/>
          <ac:spMkLst>
            <pc:docMk/>
            <pc:sldMk cId="1747975218" sldId="388"/>
            <ac:spMk id="11" creationId="{B86AA6C6-6640-1679-9B88-B0426DDD05F6}"/>
          </ac:spMkLst>
        </pc:spChg>
        <pc:spChg chg="mod">
          <ac:chgData name="Asma Asaf" userId="b01986fe-d90a-43a8-afc8-ec6e820251fe" providerId="ADAL" clId="{3AF48301-58CC-429A-87E6-2E80A2705582}" dt="2023-06-16T02:41:57.956" v="132"/>
          <ac:spMkLst>
            <pc:docMk/>
            <pc:sldMk cId="1747975218" sldId="388"/>
            <ac:spMk id="12" creationId="{9D8C0C2B-7DC8-3C2F-A6AC-BCACF30F88A2}"/>
          </ac:spMkLst>
        </pc:spChg>
        <pc:spChg chg="mod">
          <ac:chgData name="Asma Asaf" userId="b01986fe-d90a-43a8-afc8-ec6e820251fe" providerId="ADAL" clId="{3AF48301-58CC-429A-87E6-2E80A2705582}" dt="2023-06-16T02:41:57.956" v="132"/>
          <ac:spMkLst>
            <pc:docMk/>
            <pc:sldMk cId="1747975218" sldId="388"/>
            <ac:spMk id="13" creationId="{C257B101-2CF3-1A1B-1428-D9288337A346}"/>
          </ac:spMkLst>
        </pc:spChg>
        <pc:spChg chg="mod">
          <ac:chgData name="Asma Asaf" userId="b01986fe-d90a-43a8-afc8-ec6e820251fe" providerId="ADAL" clId="{3AF48301-58CC-429A-87E6-2E80A2705582}" dt="2023-06-16T02:41:57.956" v="132"/>
          <ac:spMkLst>
            <pc:docMk/>
            <pc:sldMk cId="1747975218" sldId="388"/>
            <ac:spMk id="14" creationId="{21BA1A97-35BC-D947-506A-20B985A1B619}"/>
          </ac:spMkLst>
        </pc:spChg>
        <pc:spChg chg="mod">
          <ac:chgData name="Asma Asaf" userId="b01986fe-d90a-43a8-afc8-ec6e820251fe" providerId="ADAL" clId="{3AF48301-58CC-429A-87E6-2E80A2705582}" dt="2023-06-16T02:41:57.956" v="132"/>
          <ac:spMkLst>
            <pc:docMk/>
            <pc:sldMk cId="1747975218" sldId="388"/>
            <ac:spMk id="15" creationId="{383957B0-93FE-2538-6AAB-CDA32BF937AD}"/>
          </ac:spMkLst>
        </pc:spChg>
        <pc:spChg chg="mod">
          <ac:chgData name="Asma Asaf" userId="b01986fe-d90a-43a8-afc8-ec6e820251fe" providerId="ADAL" clId="{3AF48301-58CC-429A-87E6-2E80A2705582}" dt="2023-06-16T02:41:57.956" v="132"/>
          <ac:spMkLst>
            <pc:docMk/>
            <pc:sldMk cId="1747975218" sldId="388"/>
            <ac:spMk id="16" creationId="{0E0528BB-BE00-04AD-42B5-6957B5327111}"/>
          </ac:spMkLst>
        </pc:spChg>
        <pc:spChg chg="mod">
          <ac:chgData name="Asma Asaf" userId="b01986fe-d90a-43a8-afc8-ec6e820251fe" providerId="ADAL" clId="{3AF48301-58CC-429A-87E6-2E80A2705582}" dt="2023-06-16T02:41:57.956" v="132"/>
          <ac:spMkLst>
            <pc:docMk/>
            <pc:sldMk cId="1747975218" sldId="388"/>
            <ac:spMk id="17" creationId="{8C697970-147A-DFE2-AF7D-6246969B01AE}"/>
          </ac:spMkLst>
        </pc:spChg>
        <pc:spChg chg="mod">
          <ac:chgData name="Asma Asaf" userId="b01986fe-d90a-43a8-afc8-ec6e820251fe" providerId="ADAL" clId="{3AF48301-58CC-429A-87E6-2E80A2705582}" dt="2023-06-16T02:41:57.956" v="132"/>
          <ac:spMkLst>
            <pc:docMk/>
            <pc:sldMk cId="1747975218" sldId="388"/>
            <ac:spMk id="18" creationId="{2294BE84-604B-89E5-FC01-1E8C3A31E990}"/>
          </ac:spMkLst>
        </pc:spChg>
        <pc:spChg chg="mod">
          <ac:chgData name="Asma Asaf" userId="b01986fe-d90a-43a8-afc8-ec6e820251fe" providerId="ADAL" clId="{3AF48301-58CC-429A-87E6-2E80A2705582}" dt="2023-06-16T02:41:57.956" v="132"/>
          <ac:spMkLst>
            <pc:docMk/>
            <pc:sldMk cId="1747975218" sldId="388"/>
            <ac:spMk id="19" creationId="{B7CB0A68-34A3-267D-7562-5F877DA6AB5C}"/>
          </ac:spMkLst>
        </pc:spChg>
        <pc:spChg chg="mod">
          <ac:chgData name="Asma Asaf" userId="b01986fe-d90a-43a8-afc8-ec6e820251fe" providerId="ADAL" clId="{3AF48301-58CC-429A-87E6-2E80A2705582}" dt="2023-06-16T02:41:57.956" v="132"/>
          <ac:spMkLst>
            <pc:docMk/>
            <pc:sldMk cId="1747975218" sldId="388"/>
            <ac:spMk id="20" creationId="{A22D188A-1944-ACF5-65B5-E24CE584AFE0}"/>
          </ac:spMkLst>
        </pc:spChg>
        <pc:spChg chg="mod">
          <ac:chgData name="Asma Asaf" userId="b01986fe-d90a-43a8-afc8-ec6e820251fe" providerId="ADAL" clId="{3AF48301-58CC-429A-87E6-2E80A2705582}" dt="2023-06-16T02:41:57.956" v="132"/>
          <ac:spMkLst>
            <pc:docMk/>
            <pc:sldMk cId="1747975218" sldId="388"/>
            <ac:spMk id="21" creationId="{E997A080-DDB1-C60B-41F4-8A895C5B101A}"/>
          </ac:spMkLst>
        </pc:spChg>
        <pc:spChg chg="mod">
          <ac:chgData name="Asma Asaf" userId="b01986fe-d90a-43a8-afc8-ec6e820251fe" providerId="ADAL" clId="{3AF48301-58CC-429A-87E6-2E80A2705582}" dt="2023-06-16T02:41:57.956" v="132"/>
          <ac:spMkLst>
            <pc:docMk/>
            <pc:sldMk cId="1747975218" sldId="388"/>
            <ac:spMk id="22" creationId="{1745D6F3-D4F7-082B-910C-5B178060CC8E}"/>
          </ac:spMkLst>
        </pc:spChg>
        <pc:spChg chg="mod">
          <ac:chgData name="Asma Asaf" userId="b01986fe-d90a-43a8-afc8-ec6e820251fe" providerId="ADAL" clId="{3AF48301-58CC-429A-87E6-2E80A2705582}" dt="2023-06-16T02:41:57.956" v="132"/>
          <ac:spMkLst>
            <pc:docMk/>
            <pc:sldMk cId="1747975218" sldId="388"/>
            <ac:spMk id="23" creationId="{B402909A-065B-03B4-A0ED-1A86265B368B}"/>
          </ac:spMkLst>
        </pc:spChg>
        <pc:spChg chg="mod">
          <ac:chgData name="Asma Asaf" userId="b01986fe-d90a-43a8-afc8-ec6e820251fe" providerId="ADAL" clId="{3AF48301-58CC-429A-87E6-2E80A2705582}" dt="2023-06-16T02:41:57.956" v="132"/>
          <ac:spMkLst>
            <pc:docMk/>
            <pc:sldMk cId="1747975218" sldId="388"/>
            <ac:spMk id="24" creationId="{EBE4149F-5167-AFA2-7E0C-D0F854A85D9E}"/>
          </ac:spMkLst>
        </pc:spChg>
        <pc:spChg chg="mod">
          <ac:chgData name="Asma Asaf" userId="b01986fe-d90a-43a8-afc8-ec6e820251fe" providerId="ADAL" clId="{3AF48301-58CC-429A-87E6-2E80A2705582}" dt="2023-06-16T02:41:57.956" v="132"/>
          <ac:spMkLst>
            <pc:docMk/>
            <pc:sldMk cId="1747975218" sldId="388"/>
            <ac:spMk id="25" creationId="{5CE1B31C-04C6-3762-55FB-EE51A6DABBF9}"/>
          </ac:spMkLst>
        </pc:spChg>
        <pc:spChg chg="mod">
          <ac:chgData name="Asma Asaf" userId="b01986fe-d90a-43a8-afc8-ec6e820251fe" providerId="ADAL" clId="{3AF48301-58CC-429A-87E6-2E80A2705582}" dt="2023-06-16T02:41:57.956" v="132"/>
          <ac:spMkLst>
            <pc:docMk/>
            <pc:sldMk cId="1747975218" sldId="388"/>
            <ac:spMk id="26" creationId="{53B43089-C929-9519-07F8-3A5AE9565192}"/>
          </ac:spMkLst>
        </pc:spChg>
        <pc:spChg chg="mod">
          <ac:chgData name="Asma Asaf" userId="b01986fe-d90a-43a8-afc8-ec6e820251fe" providerId="ADAL" clId="{3AF48301-58CC-429A-87E6-2E80A2705582}" dt="2023-06-16T02:41:57.956" v="132"/>
          <ac:spMkLst>
            <pc:docMk/>
            <pc:sldMk cId="1747975218" sldId="388"/>
            <ac:spMk id="27" creationId="{537CBD1E-86CA-6315-7ADF-222792755EE2}"/>
          </ac:spMkLst>
        </pc:spChg>
        <pc:spChg chg="mod">
          <ac:chgData name="Asma Asaf" userId="b01986fe-d90a-43a8-afc8-ec6e820251fe" providerId="ADAL" clId="{3AF48301-58CC-429A-87E6-2E80A2705582}" dt="2023-06-16T02:41:57.956" v="132"/>
          <ac:spMkLst>
            <pc:docMk/>
            <pc:sldMk cId="1747975218" sldId="388"/>
            <ac:spMk id="28" creationId="{D59CF119-39AD-5867-DBA8-926213D10E23}"/>
          </ac:spMkLst>
        </pc:spChg>
        <pc:spChg chg="mod">
          <ac:chgData name="Asma Asaf" userId="b01986fe-d90a-43a8-afc8-ec6e820251fe" providerId="ADAL" clId="{3AF48301-58CC-429A-87E6-2E80A2705582}" dt="2023-06-16T02:41:57.956" v="132"/>
          <ac:spMkLst>
            <pc:docMk/>
            <pc:sldMk cId="1747975218" sldId="388"/>
            <ac:spMk id="29" creationId="{B23BFF3A-75E6-501A-2CB1-F4A779AAE8B9}"/>
          </ac:spMkLst>
        </pc:spChg>
        <pc:spChg chg="mod">
          <ac:chgData name="Asma Asaf" userId="b01986fe-d90a-43a8-afc8-ec6e820251fe" providerId="ADAL" clId="{3AF48301-58CC-429A-87E6-2E80A2705582}" dt="2023-06-16T02:41:57.956" v="132"/>
          <ac:spMkLst>
            <pc:docMk/>
            <pc:sldMk cId="1747975218" sldId="388"/>
            <ac:spMk id="30" creationId="{FC07F061-1E56-424F-4E3B-1DD431296133}"/>
          </ac:spMkLst>
        </pc:spChg>
        <pc:spChg chg="mod">
          <ac:chgData name="Asma Asaf" userId="b01986fe-d90a-43a8-afc8-ec6e820251fe" providerId="ADAL" clId="{3AF48301-58CC-429A-87E6-2E80A2705582}" dt="2023-06-16T02:41:57.956" v="132"/>
          <ac:spMkLst>
            <pc:docMk/>
            <pc:sldMk cId="1747975218" sldId="388"/>
            <ac:spMk id="31" creationId="{879B3BA6-3DEF-40C6-3969-48967FBA37E0}"/>
          </ac:spMkLst>
        </pc:spChg>
        <pc:spChg chg="mod">
          <ac:chgData name="Asma Asaf" userId="b01986fe-d90a-43a8-afc8-ec6e820251fe" providerId="ADAL" clId="{3AF48301-58CC-429A-87E6-2E80A2705582}" dt="2023-06-16T02:41:57.956" v="132"/>
          <ac:spMkLst>
            <pc:docMk/>
            <pc:sldMk cId="1747975218" sldId="388"/>
            <ac:spMk id="32" creationId="{5864905F-AB9D-D123-0E77-621D2E1908AA}"/>
          </ac:spMkLst>
        </pc:spChg>
        <pc:spChg chg="mod">
          <ac:chgData name="Asma Asaf" userId="b01986fe-d90a-43a8-afc8-ec6e820251fe" providerId="ADAL" clId="{3AF48301-58CC-429A-87E6-2E80A2705582}" dt="2023-06-16T02:41:57.956" v="132"/>
          <ac:spMkLst>
            <pc:docMk/>
            <pc:sldMk cId="1747975218" sldId="388"/>
            <ac:spMk id="33" creationId="{898B19A4-F7B3-B968-C0AA-5F41416B0C4D}"/>
          </ac:spMkLst>
        </pc:spChg>
        <pc:spChg chg="mod">
          <ac:chgData name="Asma Asaf" userId="b01986fe-d90a-43a8-afc8-ec6e820251fe" providerId="ADAL" clId="{3AF48301-58CC-429A-87E6-2E80A2705582}" dt="2023-06-16T02:41:57.956" v="132"/>
          <ac:spMkLst>
            <pc:docMk/>
            <pc:sldMk cId="1747975218" sldId="388"/>
            <ac:spMk id="34" creationId="{66A16812-E06C-D8F6-E2ED-F61354A9A9D4}"/>
          </ac:spMkLst>
        </pc:spChg>
        <pc:spChg chg="mod">
          <ac:chgData name="Asma Asaf" userId="b01986fe-d90a-43a8-afc8-ec6e820251fe" providerId="ADAL" clId="{3AF48301-58CC-429A-87E6-2E80A2705582}" dt="2023-06-16T02:41:57.956" v="132"/>
          <ac:spMkLst>
            <pc:docMk/>
            <pc:sldMk cId="1747975218" sldId="388"/>
            <ac:spMk id="35" creationId="{B602957B-DE03-CEA9-E4A8-C9D9BB2F9C2D}"/>
          </ac:spMkLst>
        </pc:spChg>
        <pc:spChg chg="mod">
          <ac:chgData name="Asma Asaf" userId="b01986fe-d90a-43a8-afc8-ec6e820251fe" providerId="ADAL" clId="{3AF48301-58CC-429A-87E6-2E80A2705582}" dt="2023-06-16T02:41:57.956" v="132"/>
          <ac:spMkLst>
            <pc:docMk/>
            <pc:sldMk cId="1747975218" sldId="388"/>
            <ac:spMk id="36" creationId="{D1313941-FBC2-44F9-B9FA-04F6886F18C3}"/>
          </ac:spMkLst>
        </pc:spChg>
        <pc:spChg chg="mod">
          <ac:chgData name="Asma Asaf" userId="b01986fe-d90a-43a8-afc8-ec6e820251fe" providerId="ADAL" clId="{3AF48301-58CC-429A-87E6-2E80A2705582}" dt="2023-06-16T02:41:57.956" v="132"/>
          <ac:spMkLst>
            <pc:docMk/>
            <pc:sldMk cId="1747975218" sldId="388"/>
            <ac:spMk id="37" creationId="{43DEADDB-E5A1-069F-E558-7BDF527F8C51}"/>
          </ac:spMkLst>
        </pc:spChg>
        <pc:spChg chg="mod">
          <ac:chgData name="Asma Asaf" userId="b01986fe-d90a-43a8-afc8-ec6e820251fe" providerId="ADAL" clId="{3AF48301-58CC-429A-87E6-2E80A2705582}" dt="2023-06-16T02:41:57.956" v="132"/>
          <ac:spMkLst>
            <pc:docMk/>
            <pc:sldMk cId="1747975218" sldId="388"/>
            <ac:spMk id="38" creationId="{485A0909-51A7-700B-7E82-606ADE9EA49B}"/>
          </ac:spMkLst>
        </pc:spChg>
        <pc:spChg chg="mod">
          <ac:chgData name="Asma Asaf" userId="b01986fe-d90a-43a8-afc8-ec6e820251fe" providerId="ADAL" clId="{3AF48301-58CC-429A-87E6-2E80A2705582}" dt="2023-06-16T02:41:57.956" v="132"/>
          <ac:spMkLst>
            <pc:docMk/>
            <pc:sldMk cId="1747975218" sldId="388"/>
            <ac:spMk id="39" creationId="{08C0F385-E342-0EDE-2202-F7F3B5E31CE8}"/>
          </ac:spMkLst>
        </pc:spChg>
        <pc:spChg chg="mod">
          <ac:chgData name="Asma Asaf" userId="b01986fe-d90a-43a8-afc8-ec6e820251fe" providerId="ADAL" clId="{3AF48301-58CC-429A-87E6-2E80A2705582}" dt="2023-06-16T02:41:57.956" v="132"/>
          <ac:spMkLst>
            <pc:docMk/>
            <pc:sldMk cId="1747975218" sldId="388"/>
            <ac:spMk id="40" creationId="{9AB08447-4208-64DB-8B04-49ECDC4D507E}"/>
          </ac:spMkLst>
        </pc:spChg>
        <pc:spChg chg="mod">
          <ac:chgData name="Asma Asaf" userId="b01986fe-d90a-43a8-afc8-ec6e820251fe" providerId="ADAL" clId="{3AF48301-58CC-429A-87E6-2E80A2705582}" dt="2023-06-16T02:41:57.956" v="132"/>
          <ac:spMkLst>
            <pc:docMk/>
            <pc:sldMk cId="1747975218" sldId="388"/>
            <ac:spMk id="41" creationId="{7A245A86-A38C-FB9C-8EB1-A0868D44D00F}"/>
          </ac:spMkLst>
        </pc:spChg>
        <pc:spChg chg="mod">
          <ac:chgData name="Asma Asaf" userId="b01986fe-d90a-43a8-afc8-ec6e820251fe" providerId="ADAL" clId="{3AF48301-58CC-429A-87E6-2E80A2705582}" dt="2023-06-16T02:41:57.956" v="132"/>
          <ac:spMkLst>
            <pc:docMk/>
            <pc:sldMk cId="1747975218" sldId="388"/>
            <ac:spMk id="42" creationId="{03171C6B-EFC0-111C-AE37-60AFF8A6D091}"/>
          </ac:spMkLst>
        </pc:spChg>
        <pc:spChg chg="mod">
          <ac:chgData name="Asma Asaf" userId="b01986fe-d90a-43a8-afc8-ec6e820251fe" providerId="ADAL" clId="{3AF48301-58CC-429A-87E6-2E80A2705582}" dt="2023-06-16T02:41:57.956" v="132"/>
          <ac:spMkLst>
            <pc:docMk/>
            <pc:sldMk cId="1747975218" sldId="388"/>
            <ac:spMk id="43" creationId="{27364D48-AA97-0653-FF1D-70B6795D59E8}"/>
          </ac:spMkLst>
        </pc:spChg>
        <pc:spChg chg="mod">
          <ac:chgData name="Asma Asaf" userId="b01986fe-d90a-43a8-afc8-ec6e820251fe" providerId="ADAL" clId="{3AF48301-58CC-429A-87E6-2E80A2705582}" dt="2023-06-16T02:41:57.956" v="132"/>
          <ac:spMkLst>
            <pc:docMk/>
            <pc:sldMk cId="1747975218" sldId="388"/>
            <ac:spMk id="44" creationId="{7CF239ED-9D92-F448-CE75-A6990490469B}"/>
          </ac:spMkLst>
        </pc:spChg>
        <pc:spChg chg="mod">
          <ac:chgData name="Asma Asaf" userId="b01986fe-d90a-43a8-afc8-ec6e820251fe" providerId="ADAL" clId="{3AF48301-58CC-429A-87E6-2E80A2705582}" dt="2023-06-16T02:41:57.956" v="132"/>
          <ac:spMkLst>
            <pc:docMk/>
            <pc:sldMk cId="1747975218" sldId="388"/>
            <ac:spMk id="45" creationId="{D54ABF2F-7AD9-0968-CFBC-883935ED68BC}"/>
          </ac:spMkLst>
        </pc:spChg>
        <pc:spChg chg="mod">
          <ac:chgData name="Asma Asaf" userId="b01986fe-d90a-43a8-afc8-ec6e820251fe" providerId="ADAL" clId="{3AF48301-58CC-429A-87E6-2E80A2705582}" dt="2023-06-16T02:41:57.956" v="132"/>
          <ac:spMkLst>
            <pc:docMk/>
            <pc:sldMk cId="1747975218" sldId="388"/>
            <ac:spMk id="46" creationId="{67FA77FF-72C5-A0D7-5296-C5D2B7C11B88}"/>
          </ac:spMkLst>
        </pc:spChg>
        <pc:spChg chg="mod">
          <ac:chgData name="Asma Asaf" userId="b01986fe-d90a-43a8-afc8-ec6e820251fe" providerId="ADAL" clId="{3AF48301-58CC-429A-87E6-2E80A2705582}" dt="2023-06-16T02:41:57.956" v="132"/>
          <ac:spMkLst>
            <pc:docMk/>
            <pc:sldMk cId="1747975218" sldId="388"/>
            <ac:spMk id="47" creationId="{0F4276E4-916A-3317-5F43-B2C8D30FA2F0}"/>
          </ac:spMkLst>
        </pc:spChg>
        <pc:spChg chg="mod">
          <ac:chgData name="Asma Asaf" userId="b01986fe-d90a-43a8-afc8-ec6e820251fe" providerId="ADAL" clId="{3AF48301-58CC-429A-87E6-2E80A2705582}" dt="2023-06-16T02:41:57.956" v="132"/>
          <ac:spMkLst>
            <pc:docMk/>
            <pc:sldMk cId="1747975218" sldId="388"/>
            <ac:spMk id="48" creationId="{4F27BEC6-0069-83E6-54BA-0FDA2E552743}"/>
          </ac:spMkLst>
        </pc:spChg>
        <pc:spChg chg="mod">
          <ac:chgData name="Asma Asaf" userId="b01986fe-d90a-43a8-afc8-ec6e820251fe" providerId="ADAL" clId="{3AF48301-58CC-429A-87E6-2E80A2705582}" dt="2023-06-16T02:41:57.956" v="132"/>
          <ac:spMkLst>
            <pc:docMk/>
            <pc:sldMk cId="1747975218" sldId="388"/>
            <ac:spMk id="49" creationId="{DB03B60C-6D00-AF3B-4451-819FDF5CD519}"/>
          </ac:spMkLst>
        </pc:spChg>
        <pc:spChg chg="mod">
          <ac:chgData name="Asma Asaf" userId="b01986fe-d90a-43a8-afc8-ec6e820251fe" providerId="ADAL" clId="{3AF48301-58CC-429A-87E6-2E80A2705582}" dt="2023-06-16T02:41:57.956" v="132"/>
          <ac:spMkLst>
            <pc:docMk/>
            <pc:sldMk cId="1747975218" sldId="388"/>
            <ac:spMk id="50" creationId="{6CACFBB7-3D78-0CE5-6519-3DC946054E22}"/>
          </ac:spMkLst>
        </pc:spChg>
        <pc:spChg chg="mod">
          <ac:chgData name="Asma Asaf" userId="b01986fe-d90a-43a8-afc8-ec6e820251fe" providerId="ADAL" clId="{3AF48301-58CC-429A-87E6-2E80A2705582}" dt="2023-06-16T02:41:57.956" v="132"/>
          <ac:spMkLst>
            <pc:docMk/>
            <pc:sldMk cId="1747975218" sldId="388"/>
            <ac:spMk id="51" creationId="{4C4FCD88-2B13-7F03-2E5E-829E645D8ABB}"/>
          </ac:spMkLst>
        </pc:spChg>
        <pc:spChg chg="mod">
          <ac:chgData name="Asma Asaf" userId="b01986fe-d90a-43a8-afc8-ec6e820251fe" providerId="ADAL" clId="{3AF48301-58CC-429A-87E6-2E80A2705582}" dt="2023-06-16T02:41:57.956" v="132"/>
          <ac:spMkLst>
            <pc:docMk/>
            <pc:sldMk cId="1747975218" sldId="388"/>
            <ac:spMk id="52" creationId="{9559FAFC-8628-F163-F687-0188E336FCAB}"/>
          </ac:spMkLst>
        </pc:spChg>
        <pc:spChg chg="mod">
          <ac:chgData name="Asma Asaf" userId="b01986fe-d90a-43a8-afc8-ec6e820251fe" providerId="ADAL" clId="{3AF48301-58CC-429A-87E6-2E80A2705582}" dt="2023-06-16T02:41:57.956" v="132"/>
          <ac:spMkLst>
            <pc:docMk/>
            <pc:sldMk cId="1747975218" sldId="388"/>
            <ac:spMk id="53" creationId="{18155D2F-543C-A688-989E-1689AE81B16D}"/>
          </ac:spMkLst>
        </pc:spChg>
        <pc:spChg chg="mod">
          <ac:chgData name="Asma Asaf" userId="b01986fe-d90a-43a8-afc8-ec6e820251fe" providerId="ADAL" clId="{3AF48301-58CC-429A-87E6-2E80A2705582}" dt="2023-06-16T02:41:57.956" v="132"/>
          <ac:spMkLst>
            <pc:docMk/>
            <pc:sldMk cId="1747975218" sldId="388"/>
            <ac:spMk id="54" creationId="{5F2ADBAB-1173-143E-A369-60BAC935DDD7}"/>
          </ac:spMkLst>
        </pc:spChg>
        <pc:spChg chg="mod">
          <ac:chgData name="Asma Asaf" userId="b01986fe-d90a-43a8-afc8-ec6e820251fe" providerId="ADAL" clId="{3AF48301-58CC-429A-87E6-2E80A2705582}" dt="2023-06-16T02:41:57.956" v="132"/>
          <ac:spMkLst>
            <pc:docMk/>
            <pc:sldMk cId="1747975218" sldId="388"/>
            <ac:spMk id="55" creationId="{4E9207DA-C6A8-D316-AB4C-74171420FA37}"/>
          </ac:spMkLst>
        </pc:spChg>
        <pc:spChg chg="mod">
          <ac:chgData name="Asma Asaf" userId="b01986fe-d90a-43a8-afc8-ec6e820251fe" providerId="ADAL" clId="{3AF48301-58CC-429A-87E6-2E80A2705582}" dt="2023-06-16T02:41:57.956" v="132"/>
          <ac:spMkLst>
            <pc:docMk/>
            <pc:sldMk cId="1747975218" sldId="388"/>
            <ac:spMk id="56" creationId="{90C3C764-77F2-B197-A35D-207B1FAEF5AE}"/>
          </ac:spMkLst>
        </pc:spChg>
        <pc:spChg chg="mod">
          <ac:chgData name="Asma Asaf" userId="b01986fe-d90a-43a8-afc8-ec6e820251fe" providerId="ADAL" clId="{3AF48301-58CC-429A-87E6-2E80A2705582}" dt="2023-06-16T02:41:57.956" v="132"/>
          <ac:spMkLst>
            <pc:docMk/>
            <pc:sldMk cId="1747975218" sldId="388"/>
            <ac:spMk id="57" creationId="{5992D8AB-01A2-880D-5696-CF6CBC7A699A}"/>
          </ac:spMkLst>
        </pc:spChg>
        <pc:grpChg chg="add mod">
          <ac:chgData name="Asma Asaf" userId="b01986fe-d90a-43a8-afc8-ec6e820251fe" providerId="ADAL" clId="{3AF48301-58CC-429A-87E6-2E80A2705582}" dt="2023-06-16T02:42:20.211" v="137" actId="1076"/>
          <ac:grpSpMkLst>
            <pc:docMk/>
            <pc:sldMk cId="1747975218" sldId="388"/>
            <ac:grpSpMk id="3" creationId="{670686EF-7970-02CC-881C-E34879BF5C42}"/>
          </ac:grpSpMkLst>
        </pc:grpChg>
        <pc:picChg chg="del">
          <ac:chgData name="Asma Asaf" userId="b01986fe-d90a-43a8-afc8-ec6e820251fe" providerId="ADAL" clId="{3AF48301-58CC-429A-87E6-2E80A2705582}" dt="2023-06-16T02:41:57.389" v="131" actId="478"/>
          <ac:picMkLst>
            <pc:docMk/>
            <pc:sldMk cId="1747975218" sldId="388"/>
            <ac:picMk id="2" creationId="{6C77B86F-4D88-EF43-193B-B9DAB5AA4500}"/>
          </ac:picMkLst>
        </pc:picChg>
      </pc:sldChg>
      <pc:sldChg chg="del">
        <pc:chgData name="Asma Asaf" userId="b01986fe-d90a-43a8-afc8-ec6e820251fe" providerId="ADAL" clId="{3AF48301-58CC-429A-87E6-2E80A2705582}" dt="2023-06-16T02:45:22.194" v="191" actId="47"/>
        <pc:sldMkLst>
          <pc:docMk/>
          <pc:sldMk cId="1214335400" sldId="396"/>
        </pc:sldMkLst>
      </pc:sldChg>
      <pc:sldChg chg="ord">
        <pc:chgData name="Asma Asaf" userId="b01986fe-d90a-43a8-afc8-ec6e820251fe" providerId="ADAL" clId="{3AF48301-58CC-429A-87E6-2E80A2705582}" dt="2023-06-26T12:51:57.484" v="547"/>
        <pc:sldMkLst>
          <pc:docMk/>
          <pc:sldMk cId="423210175" sldId="397"/>
        </pc:sldMkLst>
      </pc:sldChg>
      <pc:sldChg chg="modSp add del mod">
        <pc:chgData name="Asma Asaf" userId="b01986fe-d90a-43a8-afc8-ec6e820251fe" providerId="ADAL" clId="{3AF48301-58CC-429A-87E6-2E80A2705582}" dt="2023-06-16T02:46:59.314" v="260" actId="47"/>
        <pc:sldMkLst>
          <pc:docMk/>
          <pc:sldMk cId="4207341048" sldId="404"/>
        </pc:sldMkLst>
        <pc:picChg chg="mod">
          <ac:chgData name="Asma Asaf" userId="b01986fe-d90a-43a8-afc8-ec6e820251fe" providerId="ADAL" clId="{3AF48301-58CC-429A-87E6-2E80A2705582}" dt="2023-06-16T02:46:15.892" v="199" actId="1076"/>
          <ac:picMkLst>
            <pc:docMk/>
            <pc:sldMk cId="4207341048" sldId="404"/>
            <ac:picMk id="2" creationId="{FD718F22-5A24-0CF4-BEA7-473133D39402}"/>
          </ac:picMkLst>
        </pc:picChg>
      </pc:sldChg>
      <pc:sldChg chg="del">
        <pc:chgData name="Asma Asaf" userId="b01986fe-d90a-43a8-afc8-ec6e820251fe" providerId="ADAL" clId="{3AF48301-58CC-429A-87E6-2E80A2705582}" dt="2023-06-16T02:40:00.884" v="94" actId="47"/>
        <pc:sldMkLst>
          <pc:docMk/>
          <pc:sldMk cId="696111881" sldId="409"/>
        </pc:sldMkLst>
      </pc:sldChg>
      <pc:sldChg chg="del">
        <pc:chgData name="Asma Asaf" userId="b01986fe-d90a-43a8-afc8-ec6e820251fe" providerId="ADAL" clId="{3AF48301-58CC-429A-87E6-2E80A2705582}" dt="2023-06-16T02:44:00.555" v="176" actId="47"/>
        <pc:sldMkLst>
          <pc:docMk/>
          <pc:sldMk cId="388648712" sldId="411"/>
        </pc:sldMkLst>
      </pc:sldChg>
      <pc:sldChg chg="del">
        <pc:chgData name="Asma Asaf" userId="b01986fe-d90a-43a8-afc8-ec6e820251fe" providerId="ADAL" clId="{3AF48301-58CC-429A-87E6-2E80A2705582}" dt="2023-06-16T02:40:06.779" v="96" actId="47"/>
        <pc:sldMkLst>
          <pc:docMk/>
          <pc:sldMk cId="662160476" sldId="415"/>
        </pc:sldMkLst>
      </pc:sldChg>
      <pc:sldChg chg="modSp mod">
        <pc:chgData name="Asma Asaf" userId="b01986fe-d90a-43a8-afc8-ec6e820251fe" providerId="ADAL" clId="{3AF48301-58CC-429A-87E6-2E80A2705582}" dt="2023-06-16T02:40:31.544" v="124" actId="20577"/>
        <pc:sldMkLst>
          <pc:docMk/>
          <pc:sldMk cId="3949258091" sldId="418"/>
        </pc:sldMkLst>
        <pc:spChg chg="mod">
          <ac:chgData name="Asma Asaf" userId="b01986fe-d90a-43a8-afc8-ec6e820251fe" providerId="ADAL" clId="{3AF48301-58CC-429A-87E6-2E80A2705582}" dt="2023-06-16T02:40:31.544" v="124" actId="20577"/>
          <ac:spMkLst>
            <pc:docMk/>
            <pc:sldMk cId="3949258091" sldId="418"/>
            <ac:spMk id="35" creationId="{B9E8C3FC-6FEB-481A-851C-ECD13F8DBC71}"/>
          </ac:spMkLst>
        </pc:spChg>
      </pc:sldChg>
      <pc:sldChg chg="addSp delSp modSp mod">
        <pc:chgData name="Asma Asaf" userId="b01986fe-d90a-43a8-afc8-ec6e820251fe" providerId="ADAL" clId="{3AF48301-58CC-429A-87E6-2E80A2705582}" dt="2023-06-16T02:58:37.947" v="444" actId="207"/>
        <pc:sldMkLst>
          <pc:docMk/>
          <pc:sldMk cId="342732917" sldId="421"/>
        </pc:sldMkLst>
        <pc:spChg chg="add del mod">
          <ac:chgData name="Asma Asaf" userId="b01986fe-d90a-43a8-afc8-ec6e820251fe" providerId="ADAL" clId="{3AF48301-58CC-429A-87E6-2E80A2705582}" dt="2023-06-16T02:48:30.299" v="269" actId="1076"/>
          <ac:spMkLst>
            <pc:docMk/>
            <pc:sldMk cId="342732917" sldId="421"/>
            <ac:spMk id="3" creationId="{AD9E5C99-51D5-6558-89C7-3A7FF544B034}"/>
          </ac:spMkLst>
        </pc:spChg>
        <pc:spChg chg="mod">
          <ac:chgData name="Asma Asaf" userId="b01986fe-d90a-43a8-afc8-ec6e820251fe" providerId="ADAL" clId="{3AF48301-58CC-429A-87E6-2E80A2705582}" dt="2023-06-16T02:48:10.367" v="264"/>
          <ac:spMkLst>
            <pc:docMk/>
            <pc:sldMk cId="342732917" sldId="421"/>
            <ac:spMk id="4" creationId="{55CB3115-0153-625A-6267-321C4A906FE7}"/>
          </ac:spMkLst>
        </pc:spChg>
        <pc:spChg chg="mod">
          <ac:chgData name="Asma Asaf" userId="b01986fe-d90a-43a8-afc8-ec6e820251fe" providerId="ADAL" clId="{3AF48301-58CC-429A-87E6-2E80A2705582}" dt="2023-06-16T02:48:10.367" v="264"/>
          <ac:spMkLst>
            <pc:docMk/>
            <pc:sldMk cId="342732917" sldId="421"/>
            <ac:spMk id="6" creationId="{A781301E-C80C-7A31-BEC2-780D8E721649}"/>
          </ac:spMkLst>
        </pc:spChg>
        <pc:spChg chg="mod">
          <ac:chgData name="Asma Asaf" userId="b01986fe-d90a-43a8-afc8-ec6e820251fe" providerId="ADAL" clId="{3AF48301-58CC-429A-87E6-2E80A2705582}" dt="2023-06-16T02:48:36.670" v="274" actId="14100"/>
          <ac:spMkLst>
            <pc:docMk/>
            <pc:sldMk cId="342732917" sldId="421"/>
            <ac:spMk id="7" creationId="{EA78A3A7-90A1-077D-9A1B-4001B3074EF7}"/>
          </ac:spMkLst>
        </pc:spChg>
        <pc:spChg chg="mod">
          <ac:chgData name="Asma Asaf" userId="b01986fe-d90a-43a8-afc8-ec6e820251fe" providerId="ADAL" clId="{3AF48301-58CC-429A-87E6-2E80A2705582}" dt="2023-06-16T02:48:10.367" v="264"/>
          <ac:spMkLst>
            <pc:docMk/>
            <pc:sldMk cId="342732917" sldId="421"/>
            <ac:spMk id="8" creationId="{1602DC5C-13EA-AFDC-78CC-AE8164DEB6D1}"/>
          </ac:spMkLst>
        </pc:spChg>
        <pc:spChg chg="mod">
          <ac:chgData name="Asma Asaf" userId="b01986fe-d90a-43a8-afc8-ec6e820251fe" providerId="ADAL" clId="{3AF48301-58CC-429A-87E6-2E80A2705582}" dt="2023-06-16T02:48:10.367" v="264"/>
          <ac:spMkLst>
            <pc:docMk/>
            <pc:sldMk cId="342732917" sldId="421"/>
            <ac:spMk id="9" creationId="{95F8BFE7-3C97-D3CB-0F63-82CB514B909E}"/>
          </ac:spMkLst>
        </pc:spChg>
        <pc:grpChg chg="add del mod">
          <ac:chgData name="Asma Asaf" userId="b01986fe-d90a-43a8-afc8-ec6e820251fe" providerId="ADAL" clId="{3AF48301-58CC-429A-87E6-2E80A2705582}" dt="2023-06-16T02:48:45.761" v="276" actId="478"/>
          <ac:grpSpMkLst>
            <pc:docMk/>
            <pc:sldMk cId="342732917" sldId="421"/>
            <ac:grpSpMk id="2" creationId="{7182D575-0A63-1611-CE47-0D4DD74901BC}"/>
          </ac:grpSpMkLst>
        </pc:grpChg>
        <pc:graphicFrameChg chg="add mod modGraphic">
          <ac:chgData name="Asma Asaf" userId="b01986fe-d90a-43a8-afc8-ec6e820251fe" providerId="ADAL" clId="{3AF48301-58CC-429A-87E6-2E80A2705582}" dt="2023-06-16T02:58:37.947" v="444" actId="207"/>
          <ac:graphicFrameMkLst>
            <pc:docMk/>
            <pc:sldMk cId="342732917" sldId="421"/>
            <ac:graphicFrameMk id="10" creationId="{5A86A40B-2133-8EA4-DCF4-B4C4B42D6397}"/>
          </ac:graphicFrameMkLst>
        </pc:graphicFrameChg>
        <pc:picChg chg="del mod">
          <ac:chgData name="Asma Asaf" userId="b01986fe-d90a-43a8-afc8-ec6e820251fe" providerId="ADAL" clId="{3AF48301-58CC-429A-87E6-2E80A2705582}" dt="2023-06-16T02:49:59.177" v="411" actId="478"/>
          <ac:picMkLst>
            <pc:docMk/>
            <pc:sldMk cId="342732917" sldId="421"/>
            <ac:picMk id="5" creationId="{3DDED2ED-48B1-2E38-7394-C24601CAE306}"/>
          </ac:picMkLst>
        </pc:picChg>
      </pc:sldChg>
      <pc:sldChg chg="modSp mod">
        <pc:chgData name="Asma Asaf" userId="b01986fe-d90a-43a8-afc8-ec6e820251fe" providerId="ADAL" clId="{3AF48301-58CC-429A-87E6-2E80A2705582}" dt="2023-06-26T12:57:40.783" v="574" actId="20577"/>
        <pc:sldMkLst>
          <pc:docMk/>
          <pc:sldMk cId="1182250751" sldId="422"/>
        </pc:sldMkLst>
        <pc:spChg chg="mod">
          <ac:chgData name="Asma Asaf" userId="b01986fe-d90a-43a8-afc8-ec6e820251fe" providerId="ADAL" clId="{3AF48301-58CC-429A-87E6-2E80A2705582}" dt="2023-06-26T12:57:40.783" v="574" actId="20577"/>
          <ac:spMkLst>
            <pc:docMk/>
            <pc:sldMk cId="1182250751" sldId="422"/>
            <ac:spMk id="2" creationId="{A227BD4E-587B-B654-3D1C-8ACAB901D10D}"/>
          </ac:spMkLst>
        </pc:spChg>
      </pc:sldChg>
      <pc:sldChg chg="delSp modSp mod">
        <pc:chgData name="Asma Asaf" userId="b01986fe-d90a-43a8-afc8-ec6e820251fe" providerId="ADAL" clId="{3AF48301-58CC-429A-87E6-2E80A2705582}" dt="2023-06-16T03:03:06.623" v="484" actId="20577"/>
        <pc:sldMkLst>
          <pc:docMk/>
          <pc:sldMk cId="197441417" sldId="423"/>
        </pc:sldMkLst>
        <pc:spChg chg="del mod">
          <ac:chgData name="Asma Asaf" userId="b01986fe-d90a-43a8-afc8-ec6e820251fe" providerId="ADAL" clId="{3AF48301-58CC-429A-87E6-2E80A2705582}" dt="2023-06-16T03:03:03.493" v="483" actId="478"/>
          <ac:spMkLst>
            <pc:docMk/>
            <pc:sldMk cId="197441417" sldId="423"/>
            <ac:spMk id="35" creationId="{B9E8C3FC-6FEB-481A-851C-ECD13F8DBC71}"/>
          </ac:spMkLst>
        </pc:spChg>
        <pc:spChg chg="mod">
          <ac:chgData name="Asma Asaf" userId="b01986fe-d90a-43a8-afc8-ec6e820251fe" providerId="ADAL" clId="{3AF48301-58CC-429A-87E6-2E80A2705582}" dt="2023-06-16T03:03:06.623" v="484" actId="20577"/>
          <ac:spMkLst>
            <pc:docMk/>
            <pc:sldMk cId="197441417" sldId="423"/>
            <ac:spMk id="39" creationId="{7CF0D753-F8F2-4349-9651-659ED489D15B}"/>
          </ac:spMkLst>
        </pc:spChg>
      </pc:sldChg>
      <pc:sldChg chg="modSp mod">
        <pc:chgData name="Asma Asaf" userId="b01986fe-d90a-43a8-afc8-ec6e820251fe" providerId="ADAL" clId="{3AF48301-58CC-429A-87E6-2E80A2705582}" dt="2023-06-16T02:40:36.005" v="126" actId="20577"/>
        <pc:sldMkLst>
          <pc:docMk/>
          <pc:sldMk cId="753496512" sldId="425"/>
        </pc:sldMkLst>
        <pc:spChg chg="mod">
          <ac:chgData name="Asma Asaf" userId="b01986fe-d90a-43a8-afc8-ec6e820251fe" providerId="ADAL" clId="{3AF48301-58CC-429A-87E6-2E80A2705582}" dt="2023-06-16T02:40:36.005" v="126" actId="20577"/>
          <ac:spMkLst>
            <pc:docMk/>
            <pc:sldMk cId="753496512" sldId="425"/>
            <ac:spMk id="39" creationId="{7CF0D753-F8F2-4349-9651-659ED489D15B}"/>
          </ac:spMkLst>
        </pc:spChg>
      </pc:sldChg>
      <pc:sldChg chg="modSp mod">
        <pc:chgData name="Asma Asaf" userId="b01986fe-d90a-43a8-afc8-ec6e820251fe" providerId="ADAL" clId="{3AF48301-58CC-429A-87E6-2E80A2705582}" dt="2023-06-16T02:40:42.965" v="128" actId="20577"/>
        <pc:sldMkLst>
          <pc:docMk/>
          <pc:sldMk cId="3383533711" sldId="426"/>
        </pc:sldMkLst>
        <pc:spChg chg="mod">
          <ac:chgData name="Asma Asaf" userId="b01986fe-d90a-43a8-afc8-ec6e820251fe" providerId="ADAL" clId="{3AF48301-58CC-429A-87E6-2E80A2705582}" dt="2023-06-16T02:40:42.965" v="128" actId="20577"/>
          <ac:spMkLst>
            <pc:docMk/>
            <pc:sldMk cId="3383533711" sldId="426"/>
            <ac:spMk id="39" creationId="{7CF0D753-F8F2-4349-9651-659ED489D15B}"/>
          </ac:spMkLst>
        </pc:spChg>
      </pc:sldChg>
      <pc:sldChg chg="modSp mod">
        <pc:chgData name="Asma Asaf" userId="b01986fe-d90a-43a8-afc8-ec6e820251fe" providerId="ADAL" clId="{3AF48301-58CC-429A-87E6-2E80A2705582}" dt="2023-06-16T02:40:21.735" v="122" actId="20577"/>
        <pc:sldMkLst>
          <pc:docMk/>
          <pc:sldMk cId="166923714" sldId="427"/>
        </pc:sldMkLst>
        <pc:spChg chg="mod">
          <ac:chgData name="Asma Asaf" userId="b01986fe-d90a-43a8-afc8-ec6e820251fe" providerId="ADAL" clId="{3AF48301-58CC-429A-87E6-2E80A2705582}" dt="2023-06-16T02:40:21.735" v="122" actId="20577"/>
          <ac:spMkLst>
            <pc:docMk/>
            <pc:sldMk cId="166923714" sldId="427"/>
            <ac:spMk id="35" creationId="{B9E8C3FC-6FEB-481A-851C-ECD13F8DBC71}"/>
          </ac:spMkLst>
        </pc:spChg>
      </pc:sldChg>
      <pc:sldChg chg="del">
        <pc:chgData name="Asma Asaf" userId="b01986fe-d90a-43a8-afc8-ec6e820251fe" providerId="ADAL" clId="{3AF48301-58CC-429A-87E6-2E80A2705582}" dt="2023-06-26T12:49:52.003" v="539" actId="47"/>
        <pc:sldMkLst>
          <pc:docMk/>
          <pc:sldMk cId="227027524" sldId="429"/>
        </pc:sldMkLst>
      </pc:sldChg>
      <pc:sldChg chg="ord">
        <pc:chgData name="Asma Asaf" userId="b01986fe-d90a-43a8-afc8-ec6e820251fe" providerId="ADAL" clId="{3AF48301-58CC-429A-87E6-2E80A2705582}" dt="2023-06-26T12:50:07.062" v="541"/>
        <pc:sldMkLst>
          <pc:docMk/>
          <pc:sldMk cId="1202482590" sldId="430"/>
        </pc:sldMkLst>
      </pc:sldChg>
      <pc:sldChg chg="addSp delSp modSp add mod ord">
        <pc:chgData name="Asma Asaf" userId="b01986fe-d90a-43a8-afc8-ec6e820251fe" providerId="ADAL" clId="{3AF48301-58CC-429A-87E6-2E80A2705582}" dt="2023-06-26T12:46:11.219" v="516" actId="255"/>
        <pc:sldMkLst>
          <pc:docMk/>
          <pc:sldMk cId="2945474800" sldId="431"/>
        </pc:sldMkLst>
        <pc:spChg chg="mod">
          <ac:chgData name="Asma Asaf" userId="b01986fe-d90a-43a8-afc8-ec6e820251fe" providerId="ADAL" clId="{3AF48301-58CC-429A-87E6-2E80A2705582}" dt="2023-06-26T12:44:55.231" v="507" actId="255"/>
          <ac:spMkLst>
            <pc:docMk/>
            <pc:sldMk cId="2945474800" sldId="431"/>
            <ac:spMk id="4" creationId="{6112C048-C316-4596-A56B-59CC49CBE6F0}"/>
          </ac:spMkLst>
        </pc:spChg>
        <pc:spChg chg="mod">
          <ac:chgData name="Asma Asaf" userId="b01986fe-d90a-43a8-afc8-ec6e820251fe" providerId="ADAL" clId="{3AF48301-58CC-429A-87E6-2E80A2705582}" dt="2023-06-16T02:42:24.534" v="138"/>
          <ac:spMkLst>
            <pc:docMk/>
            <pc:sldMk cId="2945474800" sldId="431"/>
            <ac:spMk id="5" creationId="{24B0E7EA-2BF0-B93A-C655-26EE49B5E27F}"/>
          </ac:spMkLst>
        </pc:spChg>
        <pc:spChg chg="mod">
          <ac:chgData name="Asma Asaf" userId="b01986fe-d90a-43a8-afc8-ec6e820251fe" providerId="ADAL" clId="{3AF48301-58CC-429A-87E6-2E80A2705582}" dt="2023-06-26T12:44:41.431" v="505" actId="255"/>
          <ac:spMkLst>
            <pc:docMk/>
            <pc:sldMk cId="2945474800" sldId="431"/>
            <ac:spMk id="6" creationId="{A1D7633C-DDD0-D678-B3CC-38F7EAD7454D}"/>
          </ac:spMkLst>
        </pc:spChg>
        <pc:spChg chg="mod">
          <ac:chgData name="Asma Asaf" userId="b01986fe-d90a-43a8-afc8-ec6e820251fe" providerId="ADAL" clId="{3AF48301-58CC-429A-87E6-2E80A2705582}" dt="2023-06-16T02:59:33.663" v="453" actId="13822"/>
          <ac:spMkLst>
            <pc:docMk/>
            <pc:sldMk cId="2945474800" sldId="431"/>
            <ac:spMk id="7" creationId="{F560907B-8882-9104-334B-C62E816BE07B}"/>
          </ac:spMkLst>
        </pc:spChg>
        <pc:spChg chg="mod">
          <ac:chgData name="Asma Asaf" userId="b01986fe-d90a-43a8-afc8-ec6e820251fe" providerId="ADAL" clId="{3AF48301-58CC-429A-87E6-2E80A2705582}" dt="2023-06-26T12:45:02.087" v="508" actId="255"/>
          <ac:spMkLst>
            <pc:docMk/>
            <pc:sldMk cId="2945474800" sldId="431"/>
            <ac:spMk id="8" creationId="{33995152-027B-D87A-389B-30574A6A4C8C}"/>
          </ac:spMkLst>
        </pc:spChg>
        <pc:spChg chg="mod">
          <ac:chgData name="Asma Asaf" userId="b01986fe-d90a-43a8-afc8-ec6e820251fe" providerId="ADAL" clId="{3AF48301-58CC-429A-87E6-2E80A2705582}" dt="2023-06-16T02:59:46.016" v="455" actId="13822"/>
          <ac:spMkLst>
            <pc:docMk/>
            <pc:sldMk cId="2945474800" sldId="431"/>
            <ac:spMk id="9" creationId="{DDB19A8B-227A-939C-9138-4C6583456CE1}"/>
          </ac:spMkLst>
        </pc:spChg>
        <pc:spChg chg="mod">
          <ac:chgData name="Asma Asaf" userId="b01986fe-d90a-43a8-afc8-ec6e820251fe" providerId="ADAL" clId="{3AF48301-58CC-429A-87E6-2E80A2705582}" dt="2023-06-16T02:42:24.534" v="138"/>
          <ac:spMkLst>
            <pc:docMk/>
            <pc:sldMk cId="2945474800" sldId="431"/>
            <ac:spMk id="10" creationId="{558D5B78-8DA3-DB45-D0FA-3F490D7C32FF}"/>
          </ac:spMkLst>
        </pc:spChg>
        <pc:spChg chg="mod">
          <ac:chgData name="Asma Asaf" userId="b01986fe-d90a-43a8-afc8-ec6e820251fe" providerId="ADAL" clId="{3AF48301-58CC-429A-87E6-2E80A2705582}" dt="2023-06-16T02:59:41.724" v="454" actId="13822"/>
          <ac:spMkLst>
            <pc:docMk/>
            <pc:sldMk cId="2945474800" sldId="431"/>
            <ac:spMk id="11" creationId="{8C351FA8-F931-1DE6-4F09-931CF09889A6}"/>
          </ac:spMkLst>
        </pc:spChg>
        <pc:spChg chg="mod">
          <ac:chgData name="Asma Asaf" userId="b01986fe-d90a-43a8-afc8-ec6e820251fe" providerId="ADAL" clId="{3AF48301-58CC-429A-87E6-2E80A2705582}" dt="2023-06-16T02:42:24.534" v="138"/>
          <ac:spMkLst>
            <pc:docMk/>
            <pc:sldMk cId="2945474800" sldId="431"/>
            <ac:spMk id="12" creationId="{39981A68-E742-9A2C-6E98-F878372DAB29}"/>
          </ac:spMkLst>
        </pc:spChg>
        <pc:spChg chg="mod">
          <ac:chgData name="Asma Asaf" userId="b01986fe-d90a-43a8-afc8-ec6e820251fe" providerId="ADAL" clId="{3AF48301-58CC-429A-87E6-2E80A2705582}" dt="2023-06-16T02:59:29.215" v="451" actId="13822"/>
          <ac:spMkLst>
            <pc:docMk/>
            <pc:sldMk cId="2945474800" sldId="431"/>
            <ac:spMk id="13" creationId="{0575772C-4DDA-9A1F-9112-1CABFFCB243F}"/>
          </ac:spMkLst>
        </pc:spChg>
        <pc:spChg chg="mod">
          <ac:chgData name="Asma Asaf" userId="b01986fe-d90a-43a8-afc8-ec6e820251fe" providerId="ADAL" clId="{3AF48301-58CC-429A-87E6-2E80A2705582}" dt="2023-06-26T12:45:13.553" v="509" actId="255"/>
          <ac:spMkLst>
            <pc:docMk/>
            <pc:sldMk cId="2945474800" sldId="431"/>
            <ac:spMk id="14" creationId="{88934DA2-F898-D15B-50A7-AA5CCC5A262D}"/>
          </ac:spMkLst>
        </pc:spChg>
        <pc:spChg chg="mod">
          <ac:chgData name="Asma Asaf" userId="b01986fe-d90a-43a8-afc8-ec6e820251fe" providerId="ADAL" clId="{3AF48301-58CC-429A-87E6-2E80A2705582}" dt="2023-06-16T02:59:59.300" v="459" actId="13822"/>
          <ac:spMkLst>
            <pc:docMk/>
            <pc:sldMk cId="2945474800" sldId="431"/>
            <ac:spMk id="15" creationId="{2633FC07-E864-7937-6536-81CC11C20733}"/>
          </ac:spMkLst>
        </pc:spChg>
        <pc:spChg chg="mod">
          <ac:chgData name="Asma Asaf" userId="b01986fe-d90a-43a8-afc8-ec6e820251fe" providerId="ADAL" clId="{3AF48301-58CC-429A-87E6-2E80A2705582}" dt="2023-06-16T02:42:24.534" v="138"/>
          <ac:spMkLst>
            <pc:docMk/>
            <pc:sldMk cId="2945474800" sldId="431"/>
            <ac:spMk id="16" creationId="{CBE0988C-0154-D517-5BF5-D668C09670AE}"/>
          </ac:spMkLst>
        </pc:spChg>
        <pc:spChg chg="mod">
          <ac:chgData name="Asma Asaf" userId="b01986fe-d90a-43a8-afc8-ec6e820251fe" providerId="ADAL" clId="{3AF48301-58CC-429A-87E6-2E80A2705582}" dt="2023-06-16T03:01:58.999" v="478" actId="13822"/>
          <ac:spMkLst>
            <pc:docMk/>
            <pc:sldMk cId="2945474800" sldId="431"/>
            <ac:spMk id="17" creationId="{647D1149-2EFB-1629-0ED4-C004C3A5E9EE}"/>
          </ac:spMkLst>
        </pc:spChg>
        <pc:spChg chg="mod">
          <ac:chgData name="Asma Asaf" userId="b01986fe-d90a-43a8-afc8-ec6e820251fe" providerId="ADAL" clId="{3AF48301-58CC-429A-87E6-2E80A2705582}" dt="2023-06-16T02:42:24.534" v="138"/>
          <ac:spMkLst>
            <pc:docMk/>
            <pc:sldMk cId="2945474800" sldId="431"/>
            <ac:spMk id="18" creationId="{3CE4B5D1-A54A-FDAF-9181-2561CFD42044}"/>
          </ac:spMkLst>
        </pc:spChg>
        <pc:spChg chg="mod">
          <ac:chgData name="Asma Asaf" userId="b01986fe-d90a-43a8-afc8-ec6e820251fe" providerId="ADAL" clId="{3AF48301-58CC-429A-87E6-2E80A2705582}" dt="2023-06-16T03:02:04.532" v="479" actId="13822"/>
          <ac:spMkLst>
            <pc:docMk/>
            <pc:sldMk cId="2945474800" sldId="431"/>
            <ac:spMk id="19" creationId="{147752EF-B4ED-879E-9056-109A168EBF9F}"/>
          </ac:spMkLst>
        </pc:spChg>
        <pc:spChg chg="mod">
          <ac:chgData name="Asma Asaf" userId="b01986fe-d90a-43a8-afc8-ec6e820251fe" providerId="ADAL" clId="{3AF48301-58CC-429A-87E6-2E80A2705582}" dt="2023-06-16T02:42:24.534" v="138"/>
          <ac:spMkLst>
            <pc:docMk/>
            <pc:sldMk cId="2945474800" sldId="431"/>
            <ac:spMk id="20" creationId="{A9B52C0B-6D40-124D-BB35-1657875266C6}"/>
          </ac:spMkLst>
        </pc:spChg>
        <pc:spChg chg="mod">
          <ac:chgData name="Asma Asaf" userId="b01986fe-d90a-43a8-afc8-ec6e820251fe" providerId="ADAL" clId="{3AF48301-58CC-429A-87E6-2E80A2705582}" dt="2023-06-16T02:59:55.042" v="458" actId="13822"/>
          <ac:spMkLst>
            <pc:docMk/>
            <pc:sldMk cId="2945474800" sldId="431"/>
            <ac:spMk id="21" creationId="{4D94D815-AF98-532D-D1DF-549A6E2EBF50}"/>
          </ac:spMkLst>
        </pc:spChg>
        <pc:spChg chg="mod">
          <ac:chgData name="Asma Asaf" userId="b01986fe-d90a-43a8-afc8-ec6e820251fe" providerId="ADAL" clId="{3AF48301-58CC-429A-87E6-2E80A2705582}" dt="2023-06-16T02:42:24.534" v="138"/>
          <ac:spMkLst>
            <pc:docMk/>
            <pc:sldMk cId="2945474800" sldId="431"/>
            <ac:spMk id="22" creationId="{A99F90EE-4751-CB97-F88B-8628DE767F0A}"/>
          </ac:spMkLst>
        </pc:spChg>
        <pc:spChg chg="mod">
          <ac:chgData name="Asma Asaf" userId="b01986fe-d90a-43a8-afc8-ec6e820251fe" providerId="ADAL" clId="{3AF48301-58CC-429A-87E6-2E80A2705582}" dt="2023-06-16T02:59:50.611" v="456" actId="13822"/>
          <ac:spMkLst>
            <pc:docMk/>
            <pc:sldMk cId="2945474800" sldId="431"/>
            <ac:spMk id="23" creationId="{B8DE8F3A-44E5-930D-7EEB-28ED3E304448}"/>
          </ac:spMkLst>
        </pc:spChg>
        <pc:spChg chg="mod">
          <ac:chgData name="Asma Asaf" userId="b01986fe-d90a-43a8-afc8-ec6e820251fe" providerId="ADAL" clId="{3AF48301-58CC-429A-87E6-2E80A2705582}" dt="2023-06-26T12:45:26.114" v="510" actId="255"/>
          <ac:spMkLst>
            <pc:docMk/>
            <pc:sldMk cId="2945474800" sldId="431"/>
            <ac:spMk id="24" creationId="{C9AFC0CD-A3CB-B924-B217-7B998D740696}"/>
          </ac:spMkLst>
        </pc:spChg>
        <pc:spChg chg="mod">
          <ac:chgData name="Asma Asaf" userId="b01986fe-d90a-43a8-afc8-ec6e820251fe" providerId="ADAL" clId="{3AF48301-58CC-429A-87E6-2E80A2705582}" dt="2023-06-16T03:00:03.801" v="461" actId="13822"/>
          <ac:spMkLst>
            <pc:docMk/>
            <pc:sldMk cId="2945474800" sldId="431"/>
            <ac:spMk id="25" creationId="{80B39120-E6A2-59A9-2DC1-184062F52236}"/>
          </ac:spMkLst>
        </pc:spChg>
        <pc:spChg chg="mod">
          <ac:chgData name="Asma Asaf" userId="b01986fe-d90a-43a8-afc8-ec6e820251fe" providerId="ADAL" clId="{3AF48301-58CC-429A-87E6-2E80A2705582}" dt="2023-06-16T02:42:24.534" v="138"/>
          <ac:spMkLst>
            <pc:docMk/>
            <pc:sldMk cId="2945474800" sldId="431"/>
            <ac:spMk id="26" creationId="{004906E3-8C0B-3EBF-FE77-09C36FD0D739}"/>
          </ac:spMkLst>
        </pc:spChg>
        <pc:spChg chg="mod">
          <ac:chgData name="Asma Asaf" userId="b01986fe-d90a-43a8-afc8-ec6e820251fe" providerId="ADAL" clId="{3AF48301-58CC-429A-87E6-2E80A2705582}" dt="2023-06-16T03:00:12.022" v="464" actId="13822"/>
          <ac:spMkLst>
            <pc:docMk/>
            <pc:sldMk cId="2945474800" sldId="431"/>
            <ac:spMk id="27" creationId="{839F23D2-6697-8EB0-9096-214BE3ECEBAE}"/>
          </ac:spMkLst>
        </pc:spChg>
        <pc:spChg chg="mod">
          <ac:chgData name="Asma Asaf" userId="b01986fe-d90a-43a8-afc8-ec6e820251fe" providerId="ADAL" clId="{3AF48301-58CC-429A-87E6-2E80A2705582}" dt="2023-06-16T02:42:24.534" v="138"/>
          <ac:spMkLst>
            <pc:docMk/>
            <pc:sldMk cId="2945474800" sldId="431"/>
            <ac:spMk id="28" creationId="{0ABC81FE-A34A-9353-3604-5470744CC1D6}"/>
          </ac:spMkLst>
        </pc:spChg>
        <pc:spChg chg="mod">
          <ac:chgData name="Asma Asaf" userId="b01986fe-d90a-43a8-afc8-ec6e820251fe" providerId="ADAL" clId="{3AF48301-58CC-429A-87E6-2E80A2705582}" dt="2023-06-16T02:42:24.534" v="138"/>
          <ac:spMkLst>
            <pc:docMk/>
            <pc:sldMk cId="2945474800" sldId="431"/>
            <ac:spMk id="29" creationId="{1C75BFE6-7610-411E-4284-DE93DDA1D3D3}"/>
          </ac:spMkLst>
        </pc:spChg>
        <pc:spChg chg="mod">
          <ac:chgData name="Asma Asaf" userId="b01986fe-d90a-43a8-afc8-ec6e820251fe" providerId="ADAL" clId="{3AF48301-58CC-429A-87E6-2E80A2705582}" dt="2023-06-16T02:42:24.534" v="138"/>
          <ac:spMkLst>
            <pc:docMk/>
            <pc:sldMk cId="2945474800" sldId="431"/>
            <ac:spMk id="30" creationId="{AD9C132C-96EC-54C1-5E14-600D476B1DF0}"/>
          </ac:spMkLst>
        </pc:spChg>
        <pc:spChg chg="mod">
          <ac:chgData name="Asma Asaf" userId="b01986fe-d90a-43a8-afc8-ec6e820251fe" providerId="ADAL" clId="{3AF48301-58CC-429A-87E6-2E80A2705582}" dt="2023-06-16T03:00:07.880" v="463" actId="13822"/>
          <ac:spMkLst>
            <pc:docMk/>
            <pc:sldMk cId="2945474800" sldId="431"/>
            <ac:spMk id="31" creationId="{CF3583FD-B010-A4C6-3A27-BCE36880F540}"/>
          </ac:spMkLst>
        </pc:spChg>
        <pc:spChg chg="mod">
          <ac:chgData name="Asma Asaf" userId="b01986fe-d90a-43a8-afc8-ec6e820251fe" providerId="ADAL" clId="{3AF48301-58CC-429A-87E6-2E80A2705582}" dt="2023-06-16T02:42:24.534" v="138"/>
          <ac:spMkLst>
            <pc:docMk/>
            <pc:sldMk cId="2945474800" sldId="431"/>
            <ac:spMk id="32" creationId="{05E09BD6-B5FB-7D0C-C6D2-E74DA2621D27}"/>
          </ac:spMkLst>
        </pc:spChg>
        <pc:spChg chg="mod">
          <ac:chgData name="Asma Asaf" userId="b01986fe-d90a-43a8-afc8-ec6e820251fe" providerId="ADAL" clId="{3AF48301-58CC-429A-87E6-2E80A2705582}" dt="2023-06-16T02:42:24.534" v="138"/>
          <ac:spMkLst>
            <pc:docMk/>
            <pc:sldMk cId="2945474800" sldId="431"/>
            <ac:spMk id="33" creationId="{EC3EAF93-A3F7-2328-CEC0-D6F948F11668}"/>
          </ac:spMkLst>
        </pc:spChg>
        <pc:spChg chg="mod">
          <ac:chgData name="Asma Asaf" userId="b01986fe-d90a-43a8-afc8-ec6e820251fe" providerId="ADAL" clId="{3AF48301-58CC-429A-87E6-2E80A2705582}" dt="2023-06-16T02:42:24.534" v="138"/>
          <ac:spMkLst>
            <pc:docMk/>
            <pc:sldMk cId="2945474800" sldId="431"/>
            <ac:spMk id="34" creationId="{8FBAB41A-C5B3-DD33-5827-DD98F7A68374}"/>
          </ac:spMkLst>
        </pc:spChg>
        <pc:spChg chg="mod">
          <ac:chgData name="Asma Asaf" userId="b01986fe-d90a-43a8-afc8-ec6e820251fe" providerId="ADAL" clId="{3AF48301-58CC-429A-87E6-2E80A2705582}" dt="2023-06-16T02:42:38.839" v="167" actId="20577"/>
          <ac:spMkLst>
            <pc:docMk/>
            <pc:sldMk cId="2945474800" sldId="431"/>
            <ac:spMk id="35" creationId="{B9E8C3FC-6FEB-481A-851C-ECD13F8DBC71}"/>
          </ac:spMkLst>
        </pc:spChg>
        <pc:spChg chg="mod">
          <ac:chgData name="Asma Asaf" userId="b01986fe-d90a-43a8-afc8-ec6e820251fe" providerId="ADAL" clId="{3AF48301-58CC-429A-87E6-2E80A2705582}" dt="2023-06-16T03:00:35.314" v="468" actId="13822"/>
          <ac:spMkLst>
            <pc:docMk/>
            <pc:sldMk cId="2945474800" sldId="431"/>
            <ac:spMk id="36" creationId="{318F0D8C-0994-DD57-FDC0-AA0D0F2992FD}"/>
          </ac:spMkLst>
        </pc:spChg>
        <pc:spChg chg="mod">
          <ac:chgData name="Asma Asaf" userId="b01986fe-d90a-43a8-afc8-ec6e820251fe" providerId="ADAL" clId="{3AF48301-58CC-429A-87E6-2E80A2705582}" dt="2023-06-16T02:42:24.534" v="138"/>
          <ac:spMkLst>
            <pc:docMk/>
            <pc:sldMk cId="2945474800" sldId="431"/>
            <ac:spMk id="37" creationId="{64DA892D-E811-D9D7-95D2-575DD9737044}"/>
          </ac:spMkLst>
        </pc:spChg>
        <pc:spChg chg="mod">
          <ac:chgData name="Asma Asaf" userId="b01986fe-d90a-43a8-afc8-ec6e820251fe" providerId="ADAL" clId="{3AF48301-58CC-429A-87E6-2E80A2705582}" dt="2023-06-16T03:00:31.306" v="467" actId="13822"/>
          <ac:spMkLst>
            <pc:docMk/>
            <pc:sldMk cId="2945474800" sldId="431"/>
            <ac:spMk id="40" creationId="{FEC5485F-20E3-FF9C-3230-FEE7255E1F4B}"/>
          </ac:spMkLst>
        </pc:spChg>
        <pc:spChg chg="mod">
          <ac:chgData name="Asma Asaf" userId="b01986fe-d90a-43a8-afc8-ec6e820251fe" providerId="ADAL" clId="{3AF48301-58CC-429A-87E6-2E80A2705582}" dt="2023-06-16T02:42:24.534" v="138"/>
          <ac:spMkLst>
            <pc:docMk/>
            <pc:sldMk cId="2945474800" sldId="431"/>
            <ac:spMk id="41" creationId="{05DA4A6F-C957-A9EE-20EA-67CDDB943573}"/>
          </ac:spMkLst>
        </pc:spChg>
        <pc:spChg chg="mod">
          <ac:chgData name="Asma Asaf" userId="b01986fe-d90a-43a8-afc8-ec6e820251fe" providerId="ADAL" clId="{3AF48301-58CC-429A-87E6-2E80A2705582}" dt="2023-06-16T03:00:39.177" v="469" actId="13822"/>
          <ac:spMkLst>
            <pc:docMk/>
            <pc:sldMk cId="2945474800" sldId="431"/>
            <ac:spMk id="42" creationId="{9AD69FBE-F524-B82E-BE06-E60AFF4B0A3F}"/>
          </ac:spMkLst>
        </pc:spChg>
        <pc:spChg chg="mod">
          <ac:chgData name="Asma Asaf" userId="b01986fe-d90a-43a8-afc8-ec6e820251fe" providerId="ADAL" clId="{3AF48301-58CC-429A-87E6-2E80A2705582}" dt="2023-06-16T02:42:24.534" v="138"/>
          <ac:spMkLst>
            <pc:docMk/>
            <pc:sldMk cId="2945474800" sldId="431"/>
            <ac:spMk id="43" creationId="{3E5BE7C0-CEE9-FAEA-CC1F-DBFEE128108C}"/>
          </ac:spMkLst>
        </pc:spChg>
        <pc:spChg chg="mod">
          <ac:chgData name="Asma Asaf" userId="b01986fe-d90a-43a8-afc8-ec6e820251fe" providerId="ADAL" clId="{3AF48301-58CC-429A-87E6-2E80A2705582}" dt="2023-06-16T03:00:55.854" v="471" actId="13822"/>
          <ac:spMkLst>
            <pc:docMk/>
            <pc:sldMk cId="2945474800" sldId="431"/>
            <ac:spMk id="44" creationId="{7485F7EF-8218-7AB0-0CD6-592325D089B4}"/>
          </ac:spMkLst>
        </pc:spChg>
        <pc:spChg chg="mod">
          <ac:chgData name="Asma Asaf" userId="b01986fe-d90a-43a8-afc8-ec6e820251fe" providerId="ADAL" clId="{3AF48301-58CC-429A-87E6-2E80A2705582}" dt="2023-06-16T02:42:24.534" v="138"/>
          <ac:spMkLst>
            <pc:docMk/>
            <pc:sldMk cId="2945474800" sldId="431"/>
            <ac:spMk id="45" creationId="{DABF2B9D-C430-B863-1E5E-04DC35F7326F}"/>
          </ac:spMkLst>
        </pc:spChg>
        <pc:spChg chg="mod">
          <ac:chgData name="Asma Asaf" userId="b01986fe-d90a-43a8-afc8-ec6e820251fe" providerId="ADAL" clId="{3AF48301-58CC-429A-87E6-2E80A2705582}" dt="2023-06-16T03:00:51.496" v="470" actId="13822"/>
          <ac:spMkLst>
            <pc:docMk/>
            <pc:sldMk cId="2945474800" sldId="431"/>
            <ac:spMk id="46" creationId="{E463E91C-48DB-F24B-CFB9-A21B9CF5A71C}"/>
          </ac:spMkLst>
        </pc:spChg>
        <pc:spChg chg="mod">
          <ac:chgData name="Asma Asaf" userId="b01986fe-d90a-43a8-afc8-ec6e820251fe" providerId="ADAL" clId="{3AF48301-58CC-429A-87E6-2E80A2705582}" dt="2023-06-16T02:42:24.534" v="138"/>
          <ac:spMkLst>
            <pc:docMk/>
            <pc:sldMk cId="2945474800" sldId="431"/>
            <ac:spMk id="47" creationId="{7B798D69-F4F4-60F5-99C5-61C4851CCFB6}"/>
          </ac:spMkLst>
        </pc:spChg>
        <pc:spChg chg="mod">
          <ac:chgData name="Asma Asaf" userId="b01986fe-d90a-43a8-afc8-ec6e820251fe" providerId="ADAL" clId="{3AF48301-58CC-429A-87E6-2E80A2705582}" dt="2023-06-16T02:42:24.534" v="138"/>
          <ac:spMkLst>
            <pc:docMk/>
            <pc:sldMk cId="2945474800" sldId="431"/>
            <ac:spMk id="48" creationId="{61685D80-0286-B35B-3672-4373C1494112}"/>
          </ac:spMkLst>
        </pc:spChg>
        <pc:spChg chg="mod">
          <ac:chgData name="Asma Asaf" userId="b01986fe-d90a-43a8-afc8-ec6e820251fe" providerId="ADAL" clId="{3AF48301-58CC-429A-87E6-2E80A2705582}" dt="2023-06-26T12:44:48.690" v="506" actId="255"/>
          <ac:spMkLst>
            <pc:docMk/>
            <pc:sldMk cId="2945474800" sldId="431"/>
            <ac:spMk id="49" creationId="{F9FFF9FD-2EB9-CD3E-6FE0-D521EC089FED}"/>
          </ac:spMkLst>
        </pc:spChg>
        <pc:spChg chg="mod">
          <ac:chgData name="Asma Asaf" userId="b01986fe-d90a-43a8-afc8-ec6e820251fe" providerId="ADAL" clId="{3AF48301-58CC-429A-87E6-2E80A2705582}" dt="2023-06-16T03:00:16.925" v="465" actId="13822"/>
          <ac:spMkLst>
            <pc:docMk/>
            <pc:sldMk cId="2945474800" sldId="431"/>
            <ac:spMk id="50" creationId="{52D1DD27-2C28-B910-E291-CDA259973432}"/>
          </ac:spMkLst>
        </pc:spChg>
        <pc:spChg chg="mod">
          <ac:chgData name="Asma Asaf" userId="b01986fe-d90a-43a8-afc8-ec6e820251fe" providerId="ADAL" clId="{3AF48301-58CC-429A-87E6-2E80A2705582}" dt="2023-06-26T12:45:34.930" v="511" actId="255"/>
          <ac:spMkLst>
            <pc:docMk/>
            <pc:sldMk cId="2945474800" sldId="431"/>
            <ac:spMk id="51" creationId="{95DE2045-9CB9-EAB6-D0D8-800A16E7BB3E}"/>
          </ac:spMkLst>
        </pc:spChg>
        <pc:spChg chg="mod">
          <ac:chgData name="Asma Asaf" userId="b01986fe-d90a-43a8-afc8-ec6e820251fe" providerId="ADAL" clId="{3AF48301-58CC-429A-87E6-2E80A2705582}" dt="2023-06-16T03:01:23.425" v="474" actId="13822"/>
          <ac:spMkLst>
            <pc:docMk/>
            <pc:sldMk cId="2945474800" sldId="431"/>
            <ac:spMk id="52" creationId="{57DF18C4-10B7-17CD-8B03-F675B2B393B5}"/>
          </ac:spMkLst>
        </pc:spChg>
        <pc:spChg chg="mod">
          <ac:chgData name="Asma Asaf" userId="b01986fe-d90a-43a8-afc8-ec6e820251fe" providerId="ADAL" clId="{3AF48301-58CC-429A-87E6-2E80A2705582}" dt="2023-06-26T12:45:40.239" v="512" actId="255"/>
          <ac:spMkLst>
            <pc:docMk/>
            <pc:sldMk cId="2945474800" sldId="431"/>
            <ac:spMk id="53" creationId="{4B4EFF3C-BA54-DC02-4B9F-F3FDECDD9683}"/>
          </ac:spMkLst>
        </pc:spChg>
        <pc:spChg chg="mod">
          <ac:chgData name="Asma Asaf" userId="b01986fe-d90a-43a8-afc8-ec6e820251fe" providerId="ADAL" clId="{3AF48301-58CC-429A-87E6-2E80A2705582}" dt="2023-06-16T02:42:24.534" v="138"/>
          <ac:spMkLst>
            <pc:docMk/>
            <pc:sldMk cId="2945474800" sldId="431"/>
            <ac:spMk id="54" creationId="{A0E133DA-D142-573C-601D-878167C802AD}"/>
          </ac:spMkLst>
        </pc:spChg>
        <pc:spChg chg="mod">
          <ac:chgData name="Asma Asaf" userId="b01986fe-d90a-43a8-afc8-ec6e820251fe" providerId="ADAL" clId="{3AF48301-58CC-429A-87E6-2E80A2705582}" dt="2023-06-26T12:45:48.082" v="513" actId="255"/>
          <ac:spMkLst>
            <pc:docMk/>
            <pc:sldMk cId="2945474800" sldId="431"/>
            <ac:spMk id="55" creationId="{C54561EE-38E6-07DB-3CCB-2EE1282DD8EE}"/>
          </ac:spMkLst>
        </pc:spChg>
        <pc:spChg chg="mod">
          <ac:chgData name="Asma Asaf" userId="b01986fe-d90a-43a8-afc8-ec6e820251fe" providerId="ADAL" clId="{3AF48301-58CC-429A-87E6-2E80A2705582}" dt="2023-06-16T02:42:24.534" v="138"/>
          <ac:spMkLst>
            <pc:docMk/>
            <pc:sldMk cId="2945474800" sldId="431"/>
            <ac:spMk id="56" creationId="{03C418AF-7DD2-0C0F-43CC-1F5AE3CB025E}"/>
          </ac:spMkLst>
        </pc:spChg>
        <pc:spChg chg="mod">
          <ac:chgData name="Asma Asaf" userId="b01986fe-d90a-43a8-afc8-ec6e820251fe" providerId="ADAL" clId="{3AF48301-58CC-429A-87E6-2E80A2705582}" dt="2023-06-26T12:45:53.955" v="514" actId="255"/>
          <ac:spMkLst>
            <pc:docMk/>
            <pc:sldMk cId="2945474800" sldId="431"/>
            <ac:spMk id="57" creationId="{7E07A77F-38FE-2BDF-82BF-C51D985FADE1}"/>
          </ac:spMkLst>
        </pc:spChg>
        <pc:spChg chg="mod">
          <ac:chgData name="Asma Asaf" userId="b01986fe-d90a-43a8-afc8-ec6e820251fe" providerId="ADAL" clId="{3AF48301-58CC-429A-87E6-2E80A2705582}" dt="2023-06-16T03:00:26.847" v="466" actId="13822"/>
          <ac:spMkLst>
            <pc:docMk/>
            <pc:sldMk cId="2945474800" sldId="431"/>
            <ac:spMk id="58" creationId="{9F7FC90F-0717-C4E0-717A-B2A403664C9E}"/>
          </ac:spMkLst>
        </pc:spChg>
        <pc:spChg chg="mod">
          <ac:chgData name="Asma Asaf" userId="b01986fe-d90a-43a8-afc8-ec6e820251fe" providerId="ADAL" clId="{3AF48301-58CC-429A-87E6-2E80A2705582}" dt="2023-06-26T12:46:11.219" v="516" actId="255"/>
          <ac:spMkLst>
            <pc:docMk/>
            <pc:sldMk cId="2945474800" sldId="431"/>
            <ac:spMk id="59" creationId="{C1431F25-8AA7-6819-FFDF-1A94515CFD6A}"/>
          </ac:spMkLst>
        </pc:spChg>
        <pc:grpChg chg="add mod">
          <ac:chgData name="Asma Asaf" userId="b01986fe-d90a-43a8-afc8-ec6e820251fe" providerId="ADAL" clId="{3AF48301-58CC-429A-87E6-2E80A2705582}" dt="2023-06-16T03:01:40.149" v="477" actId="14100"/>
          <ac:grpSpMkLst>
            <pc:docMk/>
            <pc:sldMk cId="2945474800" sldId="431"/>
            <ac:grpSpMk id="2" creationId="{B0250270-8995-FB4A-D72F-A6B15BCD95BA}"/>
          </ac:grpSpMkLst>
        </pc:grpChg>
        <pc:picChg chg="del">
          <ac:chgData name="Asma Asaf" userId="b01986fe-d90a-43a8-afc8-ec6e820251fe" providerId="ADAL" clId="{3AF48301-58CC-429A-87E6-2E80A2705582}" dt="2023-06-16T02:42:14.413" v="136" actId="478"/>
          <ac:picMkLst>
            <pc:docMk/>
            <pc:sldMk cId="2945474800" sldId="431"/>
            <ac:picMk id="3" creationId="{76CEE768-70EB-8C8D-F93E-D517AF7A4E52}"/>
          </ac:picMkLst>
        </pc:picChg>
      </pc:sldChg>
      <pc:sldChg chg="addSp delSp modSp add mod ord">
        <pc:chgData name="Asma Asaf" userId="b01986fe-d90a-43a8-afc8-ec6e820251fe" providerId="ADAL" clId="{3AF48301-58CC-429A-87E6-2E80A2705582}" dt="2023-06-26T12:47:22.102" v="520" actId="207"/>
        <pc:sldMkLst>
          <pc:docMk/>
          <pc:sldMk cId="943431482" sldId="432"/>
        </pc:sldMkLst>
        <pc:spChg chg="mod">
          <ac:chgData name="Asma Asaf" userId="b01986fe-d90a-43a8-afc8-ec6e820251fe" providerId="ADAL" clId="{3AF48301-58CC-429A-87E6-2E80A2705582}" dt="2023-06-16T02:43:39.630" v="174"/>
          <ac:spMkLst>
            <pc:docMk/>
            <pc:sldMk cId="943431482" sldId="432"/>
            <ac:spMk id="35" creationId="{B9E8C3FC-6FEB-481A-851C-ECD13F8DBC71}"/>
          </ac:spMkLst>
        </pc:spChg>
        <pc:spChg chg="mod">
          <ac:chgData name="Asma Asaf" userId="b01986fe-d90a-43a8-afc8-ec6e820251fe" providerId="ADAL" clId="{3AF48301-58CC-429A-87E6-2E80A2705582}" dt="2023-06-26T12:47:22.102" v="520" actId="207"/>
          <ac:spMkLst>
            <pc:docMk/>
            <pc:sldMk cId="943431482" sldId="432"/>
            <ac:spMk id="39" creationId="{7CF0D753-F8F2-4349-9651-659ED489D15B}"/>
          </ac:spMkLst>
        </pc:spChg>
        <pc:spChg chg="mod">
          <ac:chgData name="Asma Asaf" userId="b01986fe-d90a-43a8-afc8-ec6e820251fe" providerId="ADAL" clId="{3AF48301-58CC-429A-87E6-2E80A2705582}" dt="2023-06-16T02:43:26.059" v="173"/>
          <ac:spMkLst>
            <pc:docMk/>
            <pc:sldMk cId="943431482" sldId="432"/>
            <ac:spMk id="60" creationId="{6E459858-4851-BF52-F4B1-C1FA506DB3EA}"/>
          </ac:spMkLst>
        </pc:spChg>
        <pc:spChg chg="mod">
          <ac:chgData name="Asma Asaf" userId="b01986fe-d90a-43a8-afc8-ec6e820251fe" providerId="ADAL" clId="{3AF48301-58CC-429A-87E6-2E80A2705582}" dt="2023-06-16T02:43:26.059" v="173"/>
          <ac:spMkLst>
            <pc:docMk/>
            <pc:sldMk cId="943431482" sldId="432"/>
            <ac:spMk id="61" creationId="{83AF2A5F-7E0D-797D-0E2D-8AAE7EF7DD35}"/>
          </ac:spMkLst>
        </pc:spChg>
        <pc:spChg chg="mod">
          <ac:chgData name="Asma Asaf" userId="b01986fe-d90a-43a8-afc8-ec6e820251fe" providerId="ADAL" clId="{3AF48301-58CC-429A-87E6-2E80A2705582}" dt="2023-06-16T02:59:01.424" v="446" actId="207"/>
          <ac:spMkLst>
            <pc:docMk/>
            <pc:sldMk cId="943431482" sldId="432"/>
            <ac:spMk id="62" creationId="{12A8DC88-580D-AE8D-E931-A089A1B57293}"/>
          </ac:spMkLst>
        </pc:spChg>
        <pc:spChg chg="mod">
          <ac:chgData name="Asma Asaf" userId="b01986fe-d90a-43a8-afc8-ec6e820251fe" providerId="ADAL" clId="{3AF48301-58CC-429A-87E6-2E80A2705582}" dt="2023-06-16T02:43:26.059" v="173"/>
          <ac:spMkLst>
            <pc:docMk/>
            <pc:sldMk cId="943431482" sldId="432"/>
            <ac:spMk id="63" creationId="{B679B925-DBA8-678A-CF4A-38975BCE92B3}"/>
          </ac:spMkLst>
        </pc:spChg>
        <pc:spChg chg="mod">
          <ac:chgData name="Asma Asaf" userId="b01986fe-d90a-43a8-afc8-ec6e820251fe" providerId="ADAL" clId="{3AF48301-58CC-429A-87E6-2E80A2705582}" dt="2023-06-16T02:43:26.059" v="173"/>
          <ac:spMkLst>
            <pc:docMk/>
            <pc:sldMk cId="943431482" sldId="432"/>
            <ac:spMk id="64" creationId="{85F04D71-8A86-00D8-0644-711508073A46}"/>
          </ac:spMkLst>
        </pc:spChg>
        <pc:spChg chg="mod">
          <ac:chgData name="Asma Asaf" userId="b01986fe-d90a-43a8-afc8-ec6e820251fe" providerId="ADAL" clId="{3AF48301-58CC-429A-87E6-2E80A2705582}" dt="2023-06-16T02:43:26.059" v="173"/>
          <ac:spMkLst>
            <pc:docMk/>
            <pc:sldMk cId="943431482" sldId="432"/>
            <ac:spMk id="65" creationId="{3EEB4C22-B4D3-0A92-0DDC-50FE7250B547}"/>
          </ac:spMkLst>
        </pc:spChg>
        <pc:spChg chg="mod">
          <ac:chgData name="Asma Asaf" userId="b01986fe-d90a-43a8-afc8-ec6e820251fe" providerId="ADAL" clId="{3AF48301-58CC-429A-87E6-2E80A2705582}" dt="2023-06-16T02:43:26.059" v="173"/>
          <ac:spMkLst>
            <pc:docMk/>
            <pc:sldMk cId="943431482" sldId="432"/>
            <ac:spMk id="66" creationId="{888366E7-7215-AA2D-63FE-B7172A78B3CA}"/>
          </ac:spMkLst>
        </pc:spChg>
        <pc:spChg chg="mod">
          <ac:chgData name="Asma Asaf" userId="b01986fe-d90a-43a8-afc8-ec6e820251fe" providerId="ADAL" clId="{3AF48301-58CC-429A-87E6-2E80A2705582}" dt="2023-06-16T02:43:26.059" v="173"/>
          <ac:spMkLst>
            <pc:docMk/>
            <pc:sldMk cId="943431482" sldId="432"/>
            <ac:spMk id="67" creationId="{A5A42927-B4D1-1351-0A64-58585AAE5DE2}"/>
          </ac:spMkLst>
        </pc:spChg>
        <pc:spChg chg="mod">
          <ac:chgData name="Asma Asaf" userId="b01986fe-d90a-43a8-afc8-ec6e820251fe" providerId="ADAL" clId="{3AF48301-58CC-429A-87E6-2E80A2705582}" dt="2023-06-16T02:43:26.059" v="173"/>
          <ac:spMkLst>
            <pc:docMk/>
            <pc:sldMk cId="943431482" sldId="432"/>
            <ac:spMk id="68" creationId="{80DE80CD-81DB-C916-CCBB-242A3FD55675}"/>
          </ac:spMkLst>
        </pc:spChg>
        <pc:spChg chg="mod">
          <ac:chgData name="Asma Asaf" userId="b01986fe-d90a-43a8-afc8-ec6e820251fe" providerId="ADAL" clId="{3AF48301-58CC-429A-87E6-2E80A2705582}" dt="2023-06-16T02:43:26.059" v="173"/>
          <ac:spMkLst>
            <pc:docMk/>
            <pc:sldMk cId="943431482" sldId="432"/>
            <ac:spMk id="69" creationId="{944824D2-B33D-CDF4-6890-B0BDD9DD1E7B}"/>
          </ac:spMkLst>
        </pc:spChg>
        <pc:spChg chg="mod">
          <ac:chgData name="Asma Asaf" userId="b01986fe-d90a-43a8-afc8-ec6e820251fe" providerId="ADAL" clId="{3AF48301-58CC-429A-87E6-2E80A2705582}" dt="2023-06-16T02:43:26.059" v="173"/>
          <ac:spMkLst>
            <pc:docMk/>
            <pc:sldMk cId="943431482" sldId="432"/>
            <ac:spMk id="97" creationId="{6E275202-0D1F-18CB-10C7-79E3065C4082}"/>
          </ac:spMkLst>
        </pc:spChg>
        <pc:spChg chg="mod">
          <ac:chgData name="Asma Asaf" userId="b01986fe-d90a-43a8-afc8-ec6e820251fe" providerId="ADAL" clId="{3AF48301-58CC-429A-87E6-2E80A2705582}" dt="2023-06-16T02:43:26.059" v="173"/>
          <ac:spMkLst>
            <pc:docMk/>
            <pc:sldMk cId="943431482" sldId="432"/>
            <ac:spMk id="98" creationId="{5585C45D-C81A-EC2D-4D02-7AC9542EB7D3}"/>
          </ac:spMkLst>
        </pc:spChg>
        <pc:spChg chg="mod">
          <ac:chgData name="Asma Asaf" userId="b01986fe-d90a-43a8-afc8-ec6e820251fe" providerId="ADAL" clId="{3AF48301-58CC-429A-87E6-2E80A2705582}" dt="2023-06-16T02:43:26.059" v="173"/>
          <ac:spMkLst>
            <pc:docMk/>
            <pc:sldMk cId="943431482" sldId="432"/>
            <ac:spMk id="99" creationId="{4BB8FF10-1F7F-E10C-2F30-8649B90F4434}"/>
          </ac:spMkLst>
        </pc:spChg>
        <pc:spChg chg="mod">
          <ac:chgData name="Asma Asaf" userId="b01986fe-d90a-43a8-afc8-ec6e820251fe" providerId="ADAL" clId="{3AF48301-58CC-429A-87E6-2E80A2705582}" dt="2023-06-16T02:43:26.059" v="173"/>
          <ac:spMkLst>
            <pc:docMk/>
            <pc:sldMk cId="943431482" sldId="432"/>
            <ac:spMk id="100" creationId="{0AB3177C-8202-3DBF-50E1-A0BEFE1AF6F3}"/>
          </ac:spMkLst>
        </pc:spChg>
        <pc:spChg chg="mod">
          <ac:chgData name="Asma Asaf" userId="b01986fe-d90a-43a8-afc8-ec6e820251fe" providerId="ADAL" clId="{3AF48301-58CC-429A-87E6-2E80A2705582}" dt="2023-06-16T02:43:26.059" v="173"/>
          <ac:spMkLst>
            <pc:docMk/>
            <pc:sldMk cId="943431482" sldId="432"/>
            <ac:spMk id="101" creationId="{28973B60-29FC-ADB2-F6BE-06AEC5E7A0D8}"/>
          </ac:spMkLst>
        </pc:spChg>
        <pc:spChg chg="mod">
          <ac:chgData name="Asma Asaf" userId="b01986fe-d90a-43a8-afc8-ec6e820251fe" providerId="ADAL" clId="{3AF48301-58CC-429A-87E6-2E80A2705582}" dt="2023-06-16T02:43:26.059" v="173"/>
          <ac:spMkLst>
            <pc:docMk/>
            <pc:sldMk cId="943431482" sldId="432"/>
            <ac:spMk id="102" creationId="{B06137A2-8312-9606-B54F-02617E92AEAE}"/>
          </ac:spMkLst>
        </pc:spChg>
        <pc:spChg chg="mod">
          <ac:chgData name="Asma Asaf" userId="b01986fe-d90a-43a8-afc8-ec6e820251fe" providerId="ADAL" clId="{3AF48301-58CC-429A-87E6-2E80A2705582}" dt="2023-06-16T02:43:26.059" v="173"/>
          <ac:spMkLst>
            <pc:docMk/>
            <pc:sldMk cId="943431482" sldId="432"/>
            <ac:spMk id="103" creationId="{9B65E7DF-B7D6-06AF-B070-EE1D94B3A790}"/>
          </ac:spMkLst>
        </pc:spChg>
        <pc:spChg chg="mod">
          <ac:chgData name="Asma Asaf" userId="b01986fe-d90a-43a8-afc8-ec6e820251fe" providerId="ADAL" clId="{3AF48301-58CC-429A-87E6-2E80A2705582}" dt="2023-06-16T02:43:26.059" v="173"/>
          <ac:spMkLst>
            <pc:docMk/>
            <pc:sldMk cId="943431482" sldId="432"/>
            <ac:spMk id="104" creationId="{008592AE-C42D-B724-5D57-C7A2A87983C7}"/>
          </ac:spMkLst>
        </pc:spChg>
        <pc:spChg chg="mod">
          <ac:chgData name="Asma Asaf" userId="b01986fe-d90a-43a8-afc8-ec6e820251fe" providerId="ADAL" clId="{3AF48301-58CC-429A-87E6-2E80A2705582}" dt="2023-06-16T02:43:26.059" v="173"/>
          <ac:spMkLst>
            <pc:docMk/>
            <pc:sldMk cId="943431482" sldId="432"/>
            <ac:spMk id="105" creationId="{19FEADDA-85D5-6E17-730F-78DA532383A1}"/>
          </ac:spMkLst>
        </pc:spChg>
        <pc:spChg chg="mod">
          <ac:chgData name="Asma Asaf" userId="b01986fe-d90a-43a8-afc8-ec6e820251fe" providerId="ADAL" clId="{3AF48301-58CC-429A-87E6-2E80A2705582}" dt="2023-06-16T02:43:26.059" v="173"/>
          <ac:spMkLst>
            <pc:docMk/>
            <pc:sldMk cId="943431482" sldId="432"/>
            <ac:spMk id="106" creationId="{9F893B90-DADC-1C77-570E-B804DFEB65E7}"/>
          </ac:spMkLst>
        </pc:spChg>
        <pc:spChg chg="mod">
          <ac:chgData name="Asma Asaf" userId="b01986fe-d90a-43a8-afc8-ec6e820251fe" providerId="ADAL" clId="{3AF48301-58CC-429A-87E6-2E80A2705582}" dt="2023-06-16T02:59:06.184" v="447" actId="207"/>
          <ac:spMkLst>
            <pc:docMk/>
            <pc:sldMk cId="943431482" sldId="432"/>
            <ac:spMk id="107" creationId="{EC525A6D-1D43-8B3A-B970-F3EC4DFE19D0}"/>
          </ac:spMkLst>
        </pc:spChg>
        <pc:spChg chg="add mod">
          <ac:chgData name="Asma Asaf" userId="b01986fe-d90a-43a8-afc8-ec6e820251fe" providerId="ADAL" clId="{3AF48301-58CC-429A-87E6-2E80A2705582}" dt="2023-06-16T02:43:50.632" v="175"/>
          <ac:spMkLst>
            <pc:docMk/>
            <pc:sldMk cId="943431482" sldId="432"/>
            <ac:spMk id="108" creationId="{9FCC9FF7-BEB9-38F9-8CD8-9B9400EAC6E6}"/>
          </ac:spMkLst>
        </pc:spChg>
        <pc:grpChg chg="del">
          <ac:chgData name="Asma Asaf" userId="b01986fe-d90a-43a8-afc8-ec6e820251fe" providerId="ADAL" clId="{3AF48301-58CC-429A-87E6-2E80A2705582}" dt="2023-06-16T02:43:15.504" v="172" actId="478"/>
          <ac:grpSpMkLst>
            <pc:docMk/>
            <pc:sldMk cId="943431482" sldId="432"/>
            <ac:grpSpMk id="2" creationId="{B0250270-8995-FB4A-D72F-A6B15BCD95BA}"/>
          </ac:grpSpMkLst>
        </pc:grpChg>
        <pc:grpChg chg="add mod">
          <ac:chgData name="Asma Asaf" userId="b01986fe-d90a-43a8-afc8-ec6e820251fe" providerId="ADAL" clId="{3AF48301-58CC-429A-87E6-2E80A2705582}" dt="2023-06-16T02:59:10.303" v="448" actId="1076"/>
          <ac:grpSpMkLst>
            <pc:docMk/>
            <pc:sldMk cId="943431482" sldId="432"/>
            <ac:grpSpMk id="3" creationId="{9429417D-4089-E400-D33A-4F4DDDDE3070}"/>
          </ac:grpSpMkLst>
        </pc:grpChg>
      </pc:sldChg>
      <pc:sldChg chg="addSp delSp modSp add mod ord">
        <pc:chgData name="Asma Asaf" userId="b01986fe-d90a-43a8-afc8-ec6e820251fe" providerId="ADAL" clId="{3AF48301-58CC-429A-87E6-2E80A2705582}" dt="2023-06-26T12:43:37.963" v="503"/>
        <pc:sldMkLst>
          <pc:docMk/>
          <pc:sldMk cId="1953727189" sldId="433"/>
        </pc:sldMkLst>
        <pc:spChg chg="add mod">
          <ac:chgData name="Asma Asaf" userId="b01986fe-d90a-43a8-afc8-ec6e820251fe" providerId="ADAL" clId="{3AF48301-58CC-429A-87E6-2E80A2705582}" dt="2023-06-16T02:44:55.385" v="187" actId="255"/>
          <ac:spMkLst>
            <pc:docMk/>
            <pc:sldMk cId="1953727189" sldId="433"/>
            <ac:spMk id="2" creationId="{A2696E7B-743C-82D0-AE5A-39946165D41A}"/>
          </ac:spMkLst>
        </pc:spChg>
        <pc:spChg chg="mod">
          <ac:chgData name="Asma Asaf" userId="b01986fe-d90a-43a8-afc8-ec6e820251fe" providerId="ADAL" clId="{3AF48301-58CC-429A-87E6-2E80A2705582}" dt="2023-06-16T02:44:40.248" v="183"/>
          <ac:spMkLst>
            <pc:docMk/>
            <pc:sldMk cId="1953727189" sldId="433"/>
            <ac:spMk id="5" creationId="{068FE780-820C-7012-D132-23D9DC474544}"/>
          </ac:spMkLst>
        </pc:spChg>
        <pc:spChg chg="mod">
          <ac:chgData name="Asma Asaf" userId="b01986fe-d90a-43a8-afc8-ec6e820251fe" providerId="ADAL" clId="{3AF48301-58CC-429A-87E6-2E80A2705582}" dt="2023-06-16T02:44:40.248" v="183"/>
          <ac:spMkLst>
            <pc:docMk/>
            <pc:sldMk cId="1953727189" sldId="433"/>
            <ac:spMk id="6" creationId="{D4120097-32A2-8CD9-F032-F4E70B26FFF3}"/>
          </ac:spMkLst>
        </pc:spChg>
        <pc:spChg chg="mod">
          <ac:chgData name="Asma Asaf" userId="b01986fe-d90a-43a8-afc8-ec6e820251fe" providerId="ADAL" clId="{3AF48301-58CC-429A-87E6-2E80A2705582}" dt="2023-06-16T02:58:47.921" v="445" actId="207"/>
          <ac:spMkLst>
            <pc:docMk/>
            <pc:sldMk cId="1953727189" sldId="433"/>
            <ac:spMk id="7" creationId="{53FA7C91-5961-CAFF-770A-24B476919092}"/>
          </ac:spMkLst>
        </pc:spChg>
        <pc:spChg chg="mod">
          <ac:chgData name="Asma Asaf" userId="b01986fe-d90a-43a8-afc8-ec6e820251fe" providerId="ADAL" clId="{3AF48301-58CC-429A-87E6-2E80A2705582}" dt="2023-06-16T02:44:40.248" v="183"/>
          <ac:spMkLst>
            <pc:docMk/>
            <pc:sldMk cId="1953727189" sldId="433"/>
            <ac:spMk id="8" creationId="{E41AEE5E-AD6F-9829-3E3D-5D93792ED5CC}"/>
          </ac:spMkLst>
        </pc:spChg>
        <pc:spChg chg="mod">
          <ac:chgData name="Asma Asaf" userId="b01986fe-d90a-43a8-afc8-ec6e820251fe" providerId="ADAL" clId="{3AF48301-58CC-429A-87E6-2E80A2705582}" dt="2023-06-16T02:44:40.248" v="183"/>
          <ac:spMkLst>
            <pc:docMk/>
            <pc:sldMk cId="1953727189" sldId="433"/>
            <ac:spMk id="9" creationId="{D8134091-0534-769F-DEE6-8E367364C3EA}"/>
          </ac:spMkLst>
        </pc:spChg>
        <pc:spChg chg="mod">
          <ac:chgData name="Asma Asaf" userId="b01986fe-d90a-43a8-afc8-ec6e820251fe" providerId="ADAL" clId="{3AF48301-58CC-429A-87E6-2E80A2705582}" dt="2023-06-16T02:45:20.112" v="190" actId="122"/>
          <ac:spMkLst>
            <pc:docMk/>
            <pc:sldMk cId="1953727189" sldId="433"/>
            <ac:spMk id="35" creationId="{B9E8C3FC-6FEB-481A-851C-ECD13F8DBC71}"/>
          </ac:spMkLst>
        </pc:spChg>
        <pc:spChg chg="del">
          <ac:chgData name="Asma Asaf" userId="b01986fe-d90a-43a8-afc8-ec6e820251fe" providerId="ADAL" clId="{3AF48301-58CC-429A-87E6-2E80A2705582}" dt="2023-06-16T02:44:24.736" v="180" actId="478"/>
          <ac:spMkLst>
            <pc:docMk/>
            <pc:sldMk cId="1953727189" sldId="433"/>
            <ac:spMk id="108" creationId="{9FCC9FF7-BEB9-38F9-8CD8-9B9400EAC6E6}"/>
          </ac:spMkLst>
        </pc:spChg>
        <pc:grpChg chg="del">
          <ac:chgData name="Asma Asaf" userId="b01986fe-d90a-43a8-afc8-ec6e820251fe" providerId="ADAL" clId="{3AF48301-58CC-429A-87E6-2E80A2705582}" dt="2023-06-16T02:44:32.076" v="182" actId="478"/>
          <ac:grpSpMkLst>
            <pc:docMk/>
            <pc:sldMk cId="1953727189" sldId="433"/>
            <ac:grpSpMk id="3" creationId="{9429417D-4089-E400-D33A-4F4DDDDE3070}"/>
          </ac:grpSpMkLst>
        </pc:grpChg>
        <pc:grpChg chg="add mod">
          <ac:chgData name="Asma Asaf" userId="b01986fe-d90a-43a8-afc8-ec6e820251fe" providerId="ADAL" clId="{3AF48301-58CC-429A-87E6-2E80A2705582}" dt="2023-06-16T02:45:01.736" v="188" actId="1076"/>
          <ac:grpSpMkLst>
            <pc:docMk/>
            <pc:sldMk cId="1953727189" sldId="433"/>
            <ac:grpSpMk id="4" creationId="{7BDD3908-50FE-C194-99B9-5F33507CD8FB}"/>
          </ac:grpSpMkLst>
        </pc:grpChg>
      </pc:sldChg>
      <pc:sldChg chg="addSp delSp modSp add mod">
        <pc:chgData name="Asma Asaf" userId="b01986fe-d90a-43a8-afc8-ec6e820251fe" providerId="ADAL" clId="{3AF48301-58CC-429A-87E6-2E80A2705582}" dt="2023-06-16T02:46:56.280" v="259" actId="20577"/>
        <pc:sldMkLst>
          <pc:docMk/>
          <pc:sldMk cId="2299155292" sldId="434"/>
        </pc:sldMkLst>
        <pc:spChg chg="mod">
          <ac:chgData name="Asma Asaf" userId="b01986fe-d90a-43a8-afc8-ec6e820251fe" providerId="ADAL" clId="{3AF48301-58CC-429A-87E6-2E80A2705582}" dt="2023-06-16T02:46:56.280" v="259" actId="20577"/>
          <ac:spMkLst>
            <pc:docMk/>
            <pc:sldMk cId="2299155292" sldId="434"/>
            <ac:spMk id="2" creationId="{A2696E7B-743C-82D0-AE5A-39946165D41A}"/>
          </ac:spMkLst>
        </pc:spChg>
        <pc:spChg chg="mod">
          <ac:chgData name="Asma Asaf" userId="b01986fe-d90a-43a8-afc8-ec6e820251fe" providerId="ADAL" clId="{3AF48301-58CC-429A-87E6-2E80A2705582}" dt="2023-06-16T02:46:41.500" v="256" actId="20577"/>
          <ac:spMkLst>
            <pc:docMk/>
            <pc:sldMk cId="2299155292" sldId="434"/>
            <ac:spMk id="35" creationId="{B9E8C3FC-6FEB-481A-851C-ECD13F8DBC71}"/>
          </ac:spMkLst>
        </pc:spChg>
        <pc:grpChg chg="del">
          <ac:chgData name="Asma Asaf" userId="b01986fe-d90a-43a8-afc8-ec6e820251fe" providerId="ADAL" clId="{3AF48301-58CC-429A-87E6-2E80A2705582}" dt="2023-06-16T02:46:22.564" v="200" actId="478"/>
          <ac:grpSpMkLst>
            <pc:docMk/>
            <pc:sldMk cId="2299155292" sldId="434"/>
            <ac:grpSpMk id="4" creationId="{7BDD3908-50FE-C194-99B9-5F33507CD8FB}"/>
          </ac:grpSpMkLst>
        </pc:grpChg>
        <pc:picChg chg="add mod">
          <ac:chgData name="Asma Asaf" userId="b01986fe-d90a-43a8-afc8-ec6e820251fe" providerId="ADAL" clId="{3AF48301-58CC-429A-87E6-2E80A2705582}" dt="2023-06-16T02:46:27.788" v="202" actId="1076"/>
          <ac:picMkLst>
            <pc:docMk/>
            <pc:sldMk cId="2299155292" sldId="434"/>
            <ac:picMk id="3" creationId="{558B5A59-B01B-ACCB-FAD5-FAABA9CD5DEC}"/>
          </ac:picMkLst>
        </pc:picChg>
      </pc:sldChg>
      <pc:sldChg chg="modSp add del mod">
        <pc:chgData name="Asma Asaf" userId="b01986fe-d90a-43a8-afc8-ec6e820251fe" providerId="ADAL" clId="{3AF48301-58CC-429A-87E6-2E80A2705582}" dt="2023-06-26T12:49:48.871" v="538" actId="47"/>
        <pc:sldMkLst>
          <pc:docMk/>
          <pc:sldMk cId="4250429700" sldId="435"/>
        </pc:sldMkLst>
        <pc:spChg chg="mod">
          <ac:chgData name="Asma Asaf" userId="b01986fe-d90a-43a8-afc8-ec6e820251fe" providerId="ADAL" clId="{3AF48301-58CC-429A-87E6-2E80A2705582}" dt="2023-06-26T12:49:18.131" v="537" actId="20577"/>
          <ac:spMkLst>
            <pc:docMk/>
            <pc:sldMk cId="4250429700" sldId="435"/>
            <ac:spMk id="35" creationId="{B9E8C3FC-6FEB-481A-851C-ECD13F8DBC71}"/>
          </ac:spMkLst>
        </pc:spChg>
      </pc:sldChg>
      <pc:sldChg chg="modSp add del">
        <pc:chgData name="Asma Asaf" userId="b01986fe-d90a-43a8-afc8-ec6e820251fe" providerId="ADAL" clId="{3AF48301-58CC-429A-87E6-2E80A2705582}" dt="2023-06-16T02:43:03.283" v="170"/>
        <pc:sldMkLst>
          <pc:docMk/>
          <pc:sldMk cId="0" sldId="451"/>
        </pc:sldMkLst>
        <pc:spChg chg="mod">
          <ac:chgData name="Asma Asaf" userId="b01986fe-d90a-43a8-afc8-ec6e820251fe" providerId="ADAL" clId="{3AF48301-58CC-429A-87E6-2E80A2705582}" dt="2023-06-16T02:42:59.803" v="169"/>
          <ac:spMkLst>
            <pc:docMk/>
            <pc:sldMk cId="0" sldId="451"/>
            <ac:spMk id="5" creationId="{D7D3DE99-F87F-3E70-F47B-2816097AE80A}"/>
          </ac:spMkLst>
        </pc:spChg>
      </pc:sldChg>
      <pc:sldChg chg="modSp add del">
        <pc:chgData name="Asma Asaf" userId="b01986fe-d90a-43a8-afc8-ec6e820251fe" providerId="ADAL" clId="{3AF48301-58CC-429A-87E6-2E80A2705582}" dt="2023-06-16T02:41:39.060" v="130"/>
        <pc:sldMkLst>
          <pc:docMk/>
          <pc:sldMk cId="0" sldId="457"/>
        </pc:sldMkLst>
        <pc:spChg chg="mod">
          <ac:chgData name="Asma Asaf" userId="b01986fe-d90a-43a8-afc8-ec6e820251fe" providerId="ADAL" clId="{3AF48301-58CC-429A-87E6-2E80A2705582}" dt="2023-06-16T02:41:32.217" v="129"/>
          <ac:spMkLst>
            <pc:docMk/>
            <pc:sldMk cId="0" sldId="457"/>
            <ac:spMk id="5" creationId="{DC1DB9E1-2871-2254-0936-46F1F47089BE}"/>
          </ac:spMkLst>
        </pc:spChg>
      </pc:sldChg>
      <pc:sldChg chg="add del">
        <pc:chgData name="Asma Asaf" userId="b01986fe-d90a-43a8-afc8-ec6e820251fe" providerId="ADAL" clId="{3AF48301-58CC-429A-87E6-2E80A2705582}" dt="2023-06-16T02:46:03.842" v="196"/>
        <pc:sldMkLst>
          <pc:docMk/>
          <pc:sldMk cId="0" sldId="459"/>
        </pc:sldMkLst>
      </pc:sldChg>
    </pc:docChg>
  </pc:docChgLst>
  <pc:docChgLst>
    <pc:chgData name="Asma Asaf" userId="S::asma.asaf@vizioconsulting.com::9b561e9a-c983-44ab-a1b6-b6d7dd3a4785" providerId="AD" clId="Web-{9F4BEC22-39C3-42E3-950B-6803DD2F5D87}"/>
    <pc:docChg chg="modSld sldOrd">
      <pc:chgData name="Asma Asaf" userId="S::asma.asaf@vizioconsulting.com::9b561e9a-c983-44ab-a1b6-b6d7dd3a4785" providerId="AD" clId="Web-{9F4BEC22-39C3-42E3-950B-6803DD2F5D87}" dt="2023-02-22T03:04:31.068" v="2" actId="20577"/>
      <pc:docMkLst>
        <pc:docMk/>
      </pc:docMkLst>
      <pc:sldChg chg="ord">
        <pc:chgData name="Asma Asaf" userId="S::asma.asaf@vizioconsulting.com::9b561e9a-c983-44ab-a1b6-b6d7dd3a4785" providerId="AD" clId="Web-{9F4BEC22-39C3-42E3-950B-6803DD2F5D87}" dt="2023-02-22T03:03:40.882" v="1"/>
        <pc:sldMkLst>
          <pc:docMk/>
          <pc:sldMk cId="2183395201" sldId="428"/>
        </pc:sldMkLst>
      </pc:sldChg>
      <pc:sldChg chg="modSp">
        <pc:chgData name="Asma Asaf" userId="S::asma.asaf@vizioconsulting.com::9b561e9a-c983-44ab-a1b6-b6d7dd3a4785" providerId="AD" clId="Web-{9F4BEC22-39C3-42E3-950B-6803DD2F5D87}" dt="2023-02-22T03:04:31.068" v="2" actId="20577"/>
        <pc:sldMkLst>
          <pc:docMk/>
          <pc:sldMk cId="227027524" sldId="429"/>
        </pc:sldMkLst>
        <pc:spChg chg="mod">
          <ac:chgData name="Asma Asaf" userId="S::asma.asaf@vizioconsulting.com::9b561e9a-c983-44ab-a1b6-b6d7dd3a4785" providerId="AD" clId="Web-{9F4BEC22-39C3-42E3-950B-6803DD2F5D87}" dt="2023-02-22T03:04:31.068" v="2" actId="20577"/>
          <ac:spMkLst>
            <pc:docMk/>
            <pc:sldMk cId="227027524" sldId="429"/>
            <ac:spMk id="4" creationId="{361B6A73-C7FA-57B2-1CB9-55C96084AC7E}"/>
          </ac:spMkLst>
        </pc:spChg>
      </pc:sldChg>
    </pc:docChg>
  </pc:docChgLst>
  <pc:docChgLst>
    <pc:chgData name="Asma Asaf" userId="S::asma.asaf@vizioconsulting.com::9b561e9a-c983-44ab-a1b6-b6d7dd3a4785" providerId="AD" clId="Web-{4AE0B99E-7228-4F9A-A786-13AE6A7D2AA8}"/>
    <pc:docChg chg="modSld">
      <pc:chgData name="Asma Asaf" userId="S::asma.asaf@vizioconsulting.com::9b561e9a-c983-44ab-a1b6-b6d7dd3a4785" providerId="AD" clId="Web-{4AE0B99E-7228-4F9A-A786-13AE6A7D2AA8}" dt="2023-02-23T02:44:08.103" v="5" actId="20577"/>
      <pc:docMkLst>
        <pc:docMk/>
      </pc:docMkLst>
      <pc:sldChg chg="modSp">
        <pc:chgData name="Asma Asaf" userId="S::asma.asaf@vizioconsulting.com::9b561e9a-c983-44ab-a1b6-b6d7dd3a4785" providerId="AD" clId="Web-{4AE0B99E-7228-4F9A-A786-13AE6A7D2AA8}" dt="2023-02-23T02:44:08.103" v="5" actId="20577"/>
        <pc:sldMkLst>
          <pc:docMk/>
          <pc:sldMk cId="3800978221" sldId="386"/>
        </pc:sldMkLst>
        <pc:spChg chg="mod">
          <ac:chgData name="Asma Asaf" userId="S::asma.asaf@vizioconsulting.com::9b561e9a-c983-44ab-a1b6-b6d7dd3a4785" providerId="AD" clId="Web-{4AE0B99E-7228-4F9A-A786-13AE6A7D2AA8}" dt="2023-02-23T02:44:08.103" v="5" actId="20577"/>
          <ac:spMkLst>
            <pc:docMk/>
            <pc:sldMk cId="3800978221" sldId="386"/>
            <ac:spMk id="76" creationId="{3771BE66-4556-4FBB-B78A-D271FA16E9B6}"/>
          </ac:spMkLst>
        </pc:spChg>
      </pc:sldChg>
    </pc:docChg>
  </pc:docChgLst>
  <pc:docChgLst>
    <pc:chgData name="Sajjad Hassan" userId="S::sajjad.hassan@vizioconsulting.com::359b4653-234f-4ca1-b532-82852cac3535" providerId="AD" clId="Web-{4FA33475-5C1E-4C22-B82E-E3AFB1A3DFD2}"/>
    <pc:docChg chg="modSld sldOrd">
      <pc:chgData name="Sajjad Hassan" userId="S::sajjad.hassan@vizioconsulting.com::359b4653-234f-4ca1-b532-82852cac3535" providerId="AD" clId="Web-{4FA33475-5C1E-4C22-B82E-E3AFB1A3DFD2}" dt="2023-02-15T16:28:18.717" v="6" actId="1076"/>
      <pc:docMkLst>
        <pc:docMk/>
      </pc:docMkLst>
      <pc:sldChg chg="addSp delSp modSp">
        <pc:chgData name="Sajjad Hassan" userId="S::sajjad.hassan@vizioconsulting.com::359b4653-234f-4ca1-b532-82852cac3535" providerId="AD" clId="Web-{4FA33475-5C1E-4C22-B82E-E3AFB1A3DFD2}" dt="2023-02-15T16:28:18.717" v="6" actId="1076"/>
        <pc:sldMkLst>
          <pc:docMk/>
          <pc:sldMk cId="3516959239" sldId="372"/>
        </pc:sldMkLst>
        <pc:spChg chg="del">
          <ac:chgData name="Sajjad Hassan" userId="S::sajjad.hassan@vizioconsulting.com::359b4653-234f-4ca1-b532-82852cac3535" providerId="AD" clId="Web-{4FA33475-5C1E-4C22-B82E-E3AFB1A3DFD2}" dt="2023-02-15T16:27:55.686" v="1"/>
          <ac:spMkLst>
            <pc:docMk/>
            <pc:sldMk cId="3516959239" sldId="372"/>
            <ac:spMk id="3" creationId="{4AD9E923-2674-DA26-436F-E9C1CA816583}"/>
          </ac:spMkLst>
        </pc:spChg>
        <pc:spChg chg="add mod">
          <ac:chgData name="Sajjad Hassan" userId="S::sajjad.hassan@vizioconsulting.com::359b4653-234f-4ca1-b532-82852cac3535" providerId="AD" clId="Web-{4FA33475-5C1E-4C22-B82E-E3AFB1A3DFD2}" dt="2023-02-15T16:27:55.686" v="1"/>
          <ac:spMkLst>
            <pc:docMk/>
            <pc:sldMk cId="3516959239" sldId="372"/>
            <ac:spMk id="4" creationId="{5581430D-6320-AA85-A4A6-8D33BD8DA4C5}"/>
          </ac:spMkLst>
        </pc:spChg>
        <pc:picChg chg="mod">
          <ac:chgData name="Sajjad Hassan" userId="S::sajjad.hassan@vizioconsulting.com::359b4653-234f-4ca1-b532-82852cac3535" providerId="AD" clId="Web-{4FA33475-5C1E-4C22-B82E-E3AFB1A3DFD2}" dt="2023-02-15T16:28:18.717" v="6" actId="1076"/>
          <ac:picMkLst>
            <pc:docMk/>
            <pc:sldMk cId="3516959239" sldId="372"/>
            <ac:picMk id="7" creationId="{25F8FF78-4327-70F9-7ACC-8839A48F3016}"/>
          </ac:picMkLst>
        </pc:picChg>
      </pc:sldChg>
      <pc:sldChg chg="ord">
        <pc:chgData name="Sajjad Hassan" userId="S::sajjad.hassan@vizioconsulting.com::359b4653-234f-4ca1-b532-82852cac3535" providerId="AD" clId="Web-{4FA33475-5C1E-4C22-B82E-E3AFB1A3DFD2}" dt="2023-02-15T16:23:58.140" v="0"/>
        <pc:sldMkLst>
          <pc:docMk/>
          <pc:sldMk cId="227027524" sldId="429"/>
        </pc:sldMkLst>
      </pc:sldChg>
    </pc:docChg>
  </pc:docChgLst>
  <pc:docChgLst>
    <pc:chgData name="Sajjad Hassan" userId="S::sajjad.hassan@vizioconsulting.com::359b4653-234f-4ca1-b532-82852cac3535" providerId="AD" clId="Web-{96A4E21D-A6E4-44D5-8EA7-DA6F0680A9B2}"/>
    <pc:docChg chg="modSld">
      <pc:chgData name="Sajjad Hassan" userId="S::sajjad.hassan@vizioconsulting.com::359b4653-234f-4ca1-b532-82852cac3535" providerId="AD" clId="Web-{96A4E21D-A6E4-44D5-8EA7-DA6F0680A9B2}" dt="2023-02-15T16:46:40.276" v="178" actId="20577"/>
      <pc:docMkLst>
        <pc:docMk/>
      </pc:docMkLst>
      <pc:sldChg chg="modSp">
        <pc:chgData name="Sajjad Hassan" userId="S::sajjad.hassan@vizioconsulting.com::359b4653-234f-4ca1-b532-82852cac3535" providerId="AD" clId="Web-{96A4E21D-A6E4-44D5-8EA7-DA6F0680A9B2}" dt="2023-02-15T16:46:40.276" v="178" actId="20577"/>
        <pc:sldMkLst>
          <pc:docMk/>
          <pc:sldMk cId="1202482590" sldId="430"/>
        </pc:sldMkLst>
        <pc:graphicFrameChg chg="modGraphic">
          <ac:chgData name="Sajjad Hassan" userId="S::sajjad.hassan@vizioconsulting.com::359b4653-234f-4ca1-b532-82852cac3535" providerId="AD" clId="Web-{96A4E21D-A6E4-44D5-8EA7-DA6F0680A9B2}" dt="2023-02-15T16:46:40.276" v="178" actId="20577"/>
          <ac:graphicFrameMkLst>
            <pc:docMk/>
            <pc:sldMk cId="1202482590" sldId="430"/>
            <ac:graphicFrameMk id="3" creationId="{A28D9650-5865-11A0-2E55-3CEA76CAE066}"/>
          </ac:graphicFrameMkLst>
        </pc:graphicFrameChg>
      </pc:sldChg>
    </pc:docChg>
  </pc:docChgLst>
  <pc:docChgLst>
    <pc:chgData name="Asma Asaf" userId="S::asma.asaf@vizioconsulting.com::9b561e9a-c983-44ab-a1b6-b6d7dd3a4785" providerId="AD" clId="Web-{7D98DF0C-0F6A-46BD-B088-11D1C35CC2B9}"/>
    <pc:docChg chg="sldOrd">
      <pc:chgData name="Asma Asaf" userId="S::asma.asaf@vizioconsulting.com::9b561e9a-c983-44ab-a1b6-b6d7dd3a4785" providerId="AD" clId="Web-{7D98DF0C-0F6A-46BD-B088-11D1C35CC2B9}" dt="2023-02-16T04:14:41.552" v="1"/>
      <pc:docMkLst>
        <pc:docMk/>
      </pc:docMkLst>
      <pc:sldChg chg="ord">
        <pc:chgData name="Asma Asaf" userId="S::asma.asaf@vizioconsulting.com::9b561e9a-c983-44ab-a1b6-b6d7dd3a4785" providerId="AD" clId="Web-{7D98DF0C-0F6A-46BD-B088-11D1C35CC2B9}" dt="2023-02-16T04:14:41.552" v="1"/>
        <pc:sldMkLst>
          <pc:docMk/>
          <pc:sldMk cId="1202482590" sldId="430"/>
        </pc:sldMkLst>
      </pc:sldChg>
    </pc:docChg>
  </pc:docChgLst>
  <pc:docChgLst>
    <pc:chgData name="Asma Asaf" userId="S::asma.asaf@vizioconsulting.com::9b561e9a-c983-44ab-a1b6-b6d7dd3a4785" providerId="AD" clId="Web-{90568489-1C7A-4D8B-A459-A843AFB8F2DD}"/>
    <pc:docChg chg="delSld">
      <pc:chgData name="Asma Asaf" userId="S::asma.asaf@vizioconsulting.com::9b561e9a-c983-44ab-a1b6-b6d7dd3a4785" providerId="AD" clId="Web-{90568489-1C7A-4D8B-A459-A843AFB8F2DD}" dt="2023-02-12T15:19:32.039" v="0"/>
      <pc:docMkLst>
        <pc:docMk/>
      </pc:docMkLst>
      <pc:sldChg chg="del">
        <pc:chgData name="Asma Asaf" userId="S::asma.asaf@vizioconsulting.com::9b561e9a-c983-44ab-a1b6-b6d7dd3a4785" providerId="AD" clId="Web-{90568489-1C7A-4D8B-A459-A843AFB8F2DD}" dt="2023-02-12T15:19:32.039" v="0"/>
        <pc:sldMkLst>
          <pc:docMk/>
          <pc:sldMk cId="2783181007" sldId="33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F10670-CF9A-463B-B830-A331DF13BFC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E9B5742-FB2A-47BE-A923-DF7B0251B084}">
      <dgm:prSet phldrT="[Text]" phldr="0" custT="1"/>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US" sz="1600">
              <a:solidFill>
                <a:schemeClr val="tx1"/>
              </a:solidFill>
            </a:rPr>
            <a:t>Pre-built FP&amp;A processes based on best practices</a:t>
          </a:r>
          <a:endParaRPr lang="en-US" sz="1600">
            <a:solidFill>
              <a:schemeClr val="tx1"/>
            </a:solidFill>
            <a:effectLst/>
            <a:latin typeface="Montserrat"/>
          </a:endParaRPr>
        </a:p>
      </dgm:t>
    </dgm:pt>
    <dgm:pt modelId="{A08F7D29-7A20-49FA-B6EF-33C7F26F0CE4}" type="parTrans" cxnId="{638EE431-FB84-4986-AEFF-76EB4CD8F424}">
      <dgm:prSet/>
      <dgm:spPr/>
      <dgm:t>
        <a:bodyPr/>
        <a:lstStyle/>
        <a:p>
          <a:endParaRPr lang="en-US"/>
        </a:p>
      </dgm:t>
    </dgm:pt>
    <dgm:pt modelId="{D813DF63-9650-42AA-8E59-E782E3C1AB09}" type="sibTrans" cxnId="{638EE431-FB84-4986-AEFF-76EB4CD8F424}">
      <dgm:prSet/>
      <dgm:spPr>
        <a:ln>
          <a:solidFill>
            <a:schemeClr val="tx1"/>
          </a:solidFill>
        </a:ln>
      </dgm:spPr>
      <dgm:t>
        <a:bodyPr/>
        <a:lstStyle/>
        <a:p>
          <a:endParaRPr lang="en-US"/>
        </a:p>
      </dgm:t>
    </dgm:pt>
    <dgm:pt modelId="{3391AF8F-8987-46AA-848C-FBC6A1CD37BD}">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Rapid deployment due to 80% - 90% process pre-built solution</a:t>
          </a:r>
          <a:endParaRPr lang="en-US" sz="1600">
            <a:solidFill>
              <a:schemeClr val="tx1"/>
            </a:solidFill>
            <a:effectLst/>
            <a:latin typeface="Montserrat"/>
          </a:endParaRPr>
        </a:p>
      </dgm:t>
    </dgm:pt>
    <dgm:pt modelId="{D0197EC6-6804-45F5-805A-189F0F0968F5}" type="parTrans" cxnId="{875AD60D-67E2-4682-AE85-561650C8AE52}">
      <dgm:prSet/>
      <dgm:spPr/>
      <dgm:t>
        <a:bodyPr/>
        <a:lstStyle/>
        <a:p>
          <a:endParaRPr lang="en-US"/>
        </a:p>
      </dgm:t>
    </dgm:pt>
    <dgm:pt modelId="{F58C2CAC-B820-4E20-90D9-0ED626BB6FB6}" type="sibTrans" cxnId="{875AD60D-67E2-4682-AE85-561650C8AE52}">
      <dgm:prSet/>
      <dgm:spPr/>
      <dgm:t>
        <a:bodyPr/>
        <a:lstStyle/>
        <a:p>
          <a:endParaRPr lang="en-US"/>
        </a:p>
      </dgm:t>
    </dgm:pt>
    <dgm:pt modelId="{63606ED5-AC88-4673-AEAB-79E3C2870415}">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Demo ready to get real time FP&amp;A automation experience</a:t>
          </a:r>
          <a:endParaRPr lang="en-US" sz="1600">
            <a:solidFill>
              <a:schemeClr val="tx1"/>
            </a:solidFill>
            <a:effectLst/>
            <a:latin typeface="Montserrat"/>
          </a:endParaRPr>
        </a:p>
      </dgm:t>
    </dgm:pt>
    <dgm:pt modelId="{61EEC82F-7FF5-4182-9567-4F50A7F9C55E}" type="parTrans" cxnId="{4B790C2D-CD18-47F5-B452-66F4799E5252}">
      <dgm:prSet/>
      <dgm:spPr/>
      <dgm:t>
        <a:bodyPr/>
        <a:lstStyle/>
        <a:p>
          <a:endParaRPr lang="en-US"/>
        </a:p>
      </dgm:t>
    </dgm:pt>
    <dgm:pt modelId="{3D7562B6-8E84-447D-BB98-8D0474381A1B}" type="sibTrans" cxnId="{4B790C2D-CD18-47F5-B452-66F4799E5252}">
      <dgm:prSet/>
      <dgm:spPr/>
      <dgm:t>
        <a:bodyPr/>
        <a:lstStyle/>
        <a:p>
          <a:endParaRPr lang="en-US"/>
        </a:p>
      </dgm:t>
    </dgm:pt>
    <dgm:pt modelId="{33C4C8CE-ACBE-4371-B0FB-4B5676953B95}">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Built on the SAP Analytics Cloud platform (SAP SaaS)</a:t>
          </a:r>
          <a:endParaRPr lang="en-US" sz="1600">
            <a:solidFill>
              <a:schemeClr val="tx1"/>
            </a:solidFill>
            <a:effectLst/>
            <a:latin typeface="Montserrat"/>
          </a:endParaRPr>
        </a:p>
      </dgm:t>
    </dgm:pt>
    <dgm:pt modelId="{D826C234-C963-4A0E-9DD5-F475F58FEA6C}" type="parTrans" cxnId="{57EFF618-70D8-4B42-A293-ECA5DBEF9FA6}">
      <dgm:prSet/>
      <dgm:spPr/>
      <dgm:t>
        <a:bodyPr/>
        <a:lstStyle/>
        <a:p>
          <a:endParaRPr lang="en-US"/>
        </a:p>
      </dgm:t>
    </dgm:pt>
    <dgm:pt modelId="{A62D9B81-3CC1-4B9E-A31E-F1F53F0FD818}" type="sibTrans" cxnId="{57EFF618-70D8-4B42-A293-ECA5DBEF9FA6}">
      <dgm:prSet/>
      <dgm:spPr/>
      <dgm:t>
        <a:bodyPr/>
        <a:lstStyle/>
        <a:p>
          <a:endParaRPr lang="en-US"/>
        </a:p>
      </dgm:t>
    </dgm:pt>
    <dgm:pt modelId="{5318DE5D-7D41-41AB-9523-71B7CC422897}" type="pres">
      <dgm:prSet presAssocID="{BFF10670-CF9A-463B-B830-A331DF13BFCC}" presName="Name0" presStyleCnt="0">
        <dgm:presLayoutVars>
          <dgm:chMax val="7"/>
          <dgm:chPref val="7"/>
          <dgm:dir/>
        </dgm:presLayoutVars>
      </dgm:prSet>
      <dgm:spPr/>
    </dgm:pt>
    <dgm:pt modelId="{01853399-3EB5-4DB4-BF97-13F906D17F51}" type="pres">
      <dgm:prSet presAssocID="{BFF10670-CF9A-463B-B830-A331DF13BFCC}" presName="Name1" presStyleCnt="0"/>
      <dgm:spPr/>
    </dgm:pt>
    <dgm:pt modelId="{EBF1F06A-13D8-4C17-9659-82E28E893FEC}" type="pres">
      <dgm:prSet presAssocID="{BFF10670-CF9A-463B-B830-A331DF13BFCC}" presName="cycle" presStyleCnt="0"/>
      <dgm:spPr/>
    </dgm:pt>
    <dgm:pt modelId="{56B25D85-E9A1-496D-BC76-D9957DA94052}" type="pres">
      <dgm:prSet presAssocID="{BFF10670-CF9A-463B-B830-A331DF13BFCC}" presName="srcNode" presStyleLbl="node1" presStyleIdx="0" presStyleCnt="4"/>
      <dgm:spPr/>
    </dgm:pt>
    <dgm:pt modelId="{08E783C4-8DDC-4474-BF87-383D250B1482}" type="pres">
      <dgm:prSet presAssocID="{BFF10670-CF9A-463B-B830-A331DF13BFCC}" presName="conn" presStyleLbl="parChTrans1D2" presStyleIdx="0" presStyleCnt="1"/>
      <dgm:spPr/>
    </dgm:pt>
    <dgm:pt modelId="{CBA8C396-1DE9-4B3C-A76E-FF7255125D77}" type="pres">
      <dgm:prSet presAssocID="{BFF10670-CF9A-463B-B830-A331DF13BFCC}" presName="extraNode" presStyleLbl="node1" presStyleIdx="0" presStyleCnt="4"/>
      <dgm:spPr/>
    </dgm:pt>
    <dgm:pt modelId="{9C7DEC60-EC73-4C29-A3B5-6C4A052BAEBB}" type="pres">
      <dgm:prSet presAssocID="{BFF10670-CF9A-463B-B830-A331DF13BFCC}" presName="dstNode" presStyleLbl="node1" presStyleIdx="0" presStyleCnt="4"/>
      <dgm:spPr/>
    </dgm:pt>
    <dgm:pt modelId="{F7344B8E-A024-4651-9EE8-4CDF4862A73A}" type="pres">
      <dgm:prSet presAssocID="{2E9B5742-FB2A-47BE-A923-DF7B0251B084}" presName="text_1" presStyleLbl="node1" presStyleIdx="0" presStyleCnt="4">
        <dgm:presLayoutVars>
          <dgm:bulletEnabled val="1"/>
        </dgm:presLayoutVars>
      </dgm:prSet>
      <dgm:spPr/>
    </dgm:pt>
    <dgm:pt modelId="{AC5B9EA0-0376-4E99-82E1-F4730A3EE4CF}" type="pres">
      <dgm:prSet presAssocID="{2E9B5742-FB2A-47BE-A923-DF7B0251B084}" presName="accent_1" presStyleCnt="0"/>
      <dgm:spPr/>
    </dgm:pt>
    <dgm:pt modelId="{5417E955-16B0-468F-885A-BC5863E05EDC}" type="pres">
      <dgm:prSet presAssocID="{2E9B5742-FB2A-47BE-A923-DF7B0251B084}" presName="accentRepeatNode" presStyleLbl="solidFgAcc1" presStyleIdx="0" presStyleCnt="4" custLinFactNeighborX="-578" custLinFactNeighborY="-515"/>
      <dgm:spPr/>
    </dgm:pt>
    <dgm:pt modelId="{FEE7C13A-4EFC-43EE-A7A2-8A58F08B4C65}" type="pres">
      <dgm:prSet presAssocID="{3391AF8F-8987-46AA-848C-FBC6A1CD37BD}" presName="text_2" presStyleLbl="node1" presStyleIdx="1" presStyleCnt="4">
        <dgm:presLayoutVars>
          <dgm:bulletEnabled val="1"/>
        </dgm:presLayoutVars>
      </dgm:prSet>
      <dgm:spPr/>
    </dgm:pt>
    <dgm:pt modelId="{845BD590-B86B-45BC-8C62-C1D4F8A451AA}" type="pres">
      <dgm:prSet presAssocID="{3391AF8F-8987-46AA-848C-FBC6A1CD37BD}" presName="accent_2" presStyleCnt="0"/>
      <dgm:spPr/>
    </dgm:pt>
    <dgm:pt modelId="{EDF276A6-CBD3-40C3-9EDD-CE1B34D59549}" type="pres">
      <dgm:prSet presAssocID="{3391AF8F-8987-46AA-848C-FBC6A1CD37BD}" presName="accentRepeatNode" presStyleLbl="solidFgAcc1" presStyleIdx="1" presStyleCnt="4"/>
      <dgm:spPr/>
    </dgm:pt>
    <dgm:pt modelId="{C023FB07-4E81-4D63-BD79-F362D1CA5830}" type="pres">
      <dgm:prSet presAssocID="{63606ED5-AC88-4673-AEAB-79E3C2870415}" presName="text_3" presStyleLbl="node1" presStyleIdx="2" presStyleCnt="4">
        <dgm:presLayoutVars>
          <dgm:bulletEnabled val="1"/>
        </dgm:presLayoutVars>
      </dgm:prSet>
      <dgm:spPr/>
    </dgm:pt>
    <dgm:pt modelId="{B4297304-C18F-4D42-9116-289E4F49628B}" type="pres">
      <dgm:prSet presAssocID="{63606ED5-AC88-4673-AEAB-79E3C2870415}" presName="accent_3" presStyleCnt="0"/>
      <dgm:spPr/>
    </dgm:pt>
    <dgm:pt modelId="{B1A7C1C1-5363-4C3A-AB88-81C676D135C4}" type="pres">
      <dgm:prSet presAssocID="{63606ED5-AC88-4673-AEAB-79E3C2870415}" presName="accentRepeatNode" presStyleLbl="solidFgAcc1" presStyleIdx="2" presStyleCnt="4"/>
      <dgm:spPr/>
    </dgm:pt>
    <dgm:pt modelId="{E6378CF6-52D1-43F9-97EE-34D13933D423}" type="pres">
      <dgm:prSet presAssocID="{33C4C8CE-ACBE-4371-B0FB-4B5676953B95}" presName="text_4" presStyleLbl="node1" presStyleIdx="3" presStyleCnt="4">
        <dgm:presLayoutVars>
          <dgm:bulletEnabled val="1"/>
        </dgm:presLayoutVars>
      </dgm:prSet>
      <dgm:spPr/>
    </dgm:pt>
    <dgm:pt modelId="{A3B8B669-3AF2-4DBE-AB5B-1516874E54E1}" type="pres">
      <dgm:prSet presAssocID="{33C4C8CE-ACBE-4371-B0FB-4B5676953B95}" presName="accent_4" presStyleCnt="0"/>
      <dgm:spPr/>
    </dgm:pt>
    <dgm:pt modelId="{AACFF315-CFA5-475F-9639-B37E6B5788F2}" type="pres">
      <dgm:prSet presAssocID="{33C4C8CE-ACBE-4371-B0FB-4B5676953B95}" presName="accentRepeatNode" presStyleLbl="solidFgAcc1" presStyleIdx="3" presStyleCnt="4"/>
      <dgm:spPr/>
    </dgm:pt>
  </dgm:ptLst>
  <dgm:cxnLst>
    <dgm:cxn modelId="{875AD60D-67E2-4682-AE85-561650C8AE52}" srcId="{BFF10670-CF9A-463B-B830-A331DF13BFCC}" destId="{3391AF8F-8987-46AA-848C-FBC6A1CD37BD}" srcOrd="1" destOrd="0" parTransId="{D0197EC6-6804-45F5-805A-189F0F0968F5}" sibTransId="{F58C2CAC-B820-4E20-90D9-0ED626BB6FB6}"/>
    <dgm:cxn modelId="{E9BDAB16-5A20-4F12-9F07-99795897F440}" type="presOf" srcId="{3391AF8F-8987-46AA-848C-FBC6A1CD37BD}" destId="{FEE7C13A-4EFC-43EE-A7A2-8A58F08B4C65}" srcOrd="0" destOrd="0" presId="urn:microsoft.com/office/officeart/2008/layout/VerticalCurvedList"/>
    <dgm:cxn modelId="{46F8E218-C6DC-4511-86FB-B12886ABFF0A}" type="presOf" srcId="{BFF10670-CF9A-463B-B830-A331DF13BFCC}" destId="{5318DE5D-7D41-41AB-9523-71B7CC422897}" srcOrd="0" destOrd="0" presId="urn:microsoft.com/office/officeart/2008/layout/VerticalCurvedList"/>
    <dgm:cxn modelId="{57EFF618-70D8-4B42-A293-ECA5DBEF9FA6}" srcId="{BFF10670-CF9A-463B-B830-A331DF13BFCC}" destId="{33C4C8CE-ACBE-4371-B0FB-4B5676953B95}" srcOrd="3" destOrd="0" parTransId="{D826C234-C963-4A0E-9DD5-F475F58FEA6C}" sibTransId="{A62D9B81-3CC1-4B9E-A31E-F1F53F0FD818}"/>
    <dgm:cxn modelId="{4B790C2D-CD18-47F5-B452-66F4799E5252}" srcId="{BFF10670-CF9A-463B-B830-A331DF13BFCC}" destId="{63606ED5-AC88-4673-AEAB-79E3C2870415}" srcOrd="2" destOrd="0" parTransId="{61EEC82F-7FF5-4182-9567-4F50A7F9C55E}" sibTransId="{3D7562B6-8E84-447D-BB98-8D0474381A1B}"/>
    <dgm:cxn modelId="{638EE431-FB84-4986-AEFF-76EB4CD8F424}" srcId="{BFF10670-CF9A-463B-B830-A331DF13BFCC}" destId="{2E9B5742-FB2A-47BE-A923-DF7B0251B084}" srcOrd="0" destOrd="0" parTransId="{A08F7D29-7A20-49FA-B6EF-33C7F26F0CE4}" sibTransId="{D813DF63-9650-42AA-8E59-E782E3C1AB09}"/>
    <dgm:cxn modelId="{C93D1D6B-BAF5-4D7D-921D-BDA21283FE78}" type="presOf" srcId="{63606ED5-AC88-4673-AEAB-79E3C2870415}" destId="{C023FB07-4E81-4D63-BD79-F362D1CA5830}" srcOrd="0" destOrd="0" presId="urn:microsoft.com/office/officeart/2008/layout/VerticalCurvedList"/>
    <dgm:cxn modelId="{F8B0BA4C-D5F0-459B-A904-1658DB27B561}" type="presOf" srcId="{33C4C8CE-ACBE-4371-B0FB-4B5676953B95}" destId="{E6378CF6-52D1-43F9-97EE-34D13933D423}" srcOrd="0" destOrd="0" presId="urn:microsoft.com/office/officeart/2008/layout/VerticalCurvedList"/>
    <dgm:cxn modelId="{5DFEFF84-A5A5-4B6B-B71D-4AD8CD1CE8BD}" type="presOf" srcId="{2E9B5742-FB2A-47BE-A923-DF7B0251B084}" destId="{F7344B8E-A024-4651-9EE8-4CDF4862A73A}" srcOrd="0" destOrd="0" presId="urn:microsoft.com/office/officeart/2008/layout/VerticalCurvedList"/>
    <dgm:cxn modelId="{2C3B6BCF-15B4-4200-9AA9-BFD6BD124FCA}" type="presOf" srcId="{D813DF63-9650-42AA-8E59-E782E3C1AB09}" destId="{08E783C4-8DDC-4474-BF87-383D250B1482}" srcOrd="0" destOrd="0" presId="urn:microsoft.com/office/officeart/2008/layout/VerticalCurvedList"/>
    <dgm:cxn modelId="{26992A9B-5E50-4580-B1E3-1858F6754EE1}" type="presParOf" srcId="{5318DE5D-7D41-41AB-9523-71B7CC422897}" destId="{01853399-3EB5-4DB4-BF97-13F906D17F51}" srcOrd="0" destOrd="0" presId="urn:microsoft.com/office/officeart/2008/layout/VerticalCurvedList"/>
    <dgm:cxn modelId="{5A7D6CB0-8580-491D-9355-32AEF2C82595}" type="presParOf" srcId="{01853399-3EB5-4DB4-BF97-13F906D17F51}" destId="{EBF1F06A-13D8-4C17-9659-82E28E893FEC}" srcOrd="0" destOrd="0" presId="urn:microsoft.com/office/officeart/2008/layout/VerticalCurvedList"/>
    <dgm:cxn modelId="{FE7B2E14-03DF-4CEC-9DAD-BE25D70B279C}" type="presParOf" srcId="{EBF1F06A-13D8-4C17-9659-82E28E893FEC}" destId="{56B25D85-E9A1-496D-BC76-D9957DA94052}" srcOrd="0" destOrd="0" presId="urn:microsoft.com/office/officeart/2008/layout/VerticalCurvedList"/>
    <dgm:cxn modelId="{0495B3EA-FFEC-45F5-A9CA-A6AE301E4583}" type="presParOf" srcId="{EBF1F06A-13D8-4C17-9659-82E28E893FEC}" destId="{08E783C4-8DDC-4474-BF87-383D250B1482}" srcOrd="1" destOrd="0" presId="urn:microsoft.com/office/officeart/2008/layout/VerticalCurvedList"/>
    <dgm:cxn modelId="{424F9191-4EBB-4014-B23C-038358BB51A0}" type="presParOf" srcId="{EBF1F06A-13D8-4C17-9659-82E28E893FEC}" destId="{CBA8C396-1DE9-4B3C-A76E-FF7255125D77}" srcOrd="2" destOrd="0" presId="urn:microsoft.com/office/officeart/2008/layout/VerticalCurvedList"/>
    <dgm:cxn modelId="{0A09FA09-67A3-4C6B-BBEC-DFB3010B5BFB}" type="presParOf" srcId="{EBF1F06A-13D8-4C17-9659-82E28E893FEC}" destId="{9C7DEC60-EC73-4C29-A3B5-6C4A052BAEBB}" srcOrd="3" destOrd="0" presId="urn:microsoft.com/office/officeart/2008/layout/VerticalCurvedList"/>
    <dgm:cxn modelId="{086AC8E3-8528-404B-B015-270547E14C4A}" type="presParOf" srcId="{01853399-3EB5-4DB4-BF97-13F906D17F51}" destId="{F7344B8E-A024-4651-9EE8-4CDF4862A73A}" srcOrd="1" destOrd="0" presId="urn:microsoft.com/office/officeart/2008/layout/VerticalCurvedList"/>
    <dgm:cxn modelId="{C834180F-938A-47B3-8AD5-53CEC90BA16E}" type="presParOf" srcId="{01853399-3EB5-4DB4-BF97-13F906D17F51}" destId="{AC5B9EA0-0376-4E99-82E1-F4730A3EE4CF}" srcOrd="2" destOrd="0" presId="urn:microsoft.com/office/officeart/2008/layout/VerticalCurvedList"/>
    <dgm:cxn modelId="{59338531-8761-44B5-A8DC-F8F48B10381B}" type="presParOf" srcId="{AC5B9EA0-0376-4E99-82E1-F4730A3EE4CF}" destId="{5417E955-16B0-468F-885A-BC5863E05EDC}" srcOrd="0" destOrd="0" presId="urn:microsoft.com/office/officeart/2008/layout/VerticalCurvedList"/>
    <dgm:cxn modelId="{92DEC713-CC51-4B87-B2F5-68396F50556E}" type="presParOf" srcId="{01853399-3EB5-4DB4-BF97-13F906D17F51}" destId="{FEE7C13A-4EFC-43EE-A7A2-8A58F08B4C65}" srcOrd="3" destOrd="0" presId="urn:microsoft.com/office/officeart/2008/layout/VerticalCurvedList"/>
    <dgm:cxn modelId="{FAD92D14-7DF8-44F1-92F2-E06FFA46BE33}" type="presParOf" srcId="{01853399-3EB5-4DB4-BF97-13F906D17F51}" destId="{845BD590-B86B-45BC-8C62-C1D4F8A451AA}" srcOrd="4" destOrd="0" presId="urn:microsoft.com/office/officeart/2008/layout/VerticalCurvedList"/>
    <dgm:cxn modelId="{1608EF23-F608-43CE-A63A-5FDE05DB5999}" type="presParOf" srcId="{845BD590-B86B-45BC-8C62-C1D4F8A451AA}" destId="{EDF276A6-CBD3-40C3-9EDD-CE1B34D59549}" srcOrd="0" destOrd="0" presId="urn:microsoft.com/office/officeart/2008/layout/VerticalCurvedList"/>
    <dgm:cxn modelId="{EA74C610-C284-4C04-8E27-D3438D6C02DD}" type="presParOf" srcId="{01853399-3EB5-4DB4-BF97-13F906D17F51}" destId="{C023FB07-4E81-4D63-BD79-F362D1CA5830}" srcOrd="5" destOrd="0" presId="urn:microsoft.com/office/officeart/2008/layout/VerticalCurvedList"/>
    <dgm:cxn modelId="{C54FC4D7-77D8-4F1F-816B-F80235E0817A}" type="presParOf" srcId="{01853399-3EB5-4DB4-BF97-13F906D17F51}" destId="{B4297304-C18F-4D42-9116-289E4F49628B}" srcOrd="6" destOrd="0" presId="urn:microsoft.com/office/officeart/2008/layout/VerticalCurvedList"/>
    <dgm:cxn modelId="{CD64B89F-F2C4-4258-9CB2-794777AAFB53}" type="presParOf" srcId="{B4297304-C18F-4D42-9116-289E4F49628B}" destId="{B1A7C1C1-5363-4C3A-AB88-81C676D135C4}" srcOrd="0" destOrd="0" presId="urn:microsoft.com/office/officeart/2008/layout/VerticalCurvedList"/>
    <dgm:cxn modelId="{50E27B21-A7C8-4B85-ABFA-0CDCC3E3EFAA}" type="presParOf" srcId="{01853399-3EB5-4DB4-BF97-13F906D17F51}" destId="{E6378CF6-52D1-43F9-97EE-34D13933D423}" srcOrd="7" destOrd="0" presId="urn:microsoft.com/office/officeart/2008/layout/VerticalCurvedList"/>
    <dgm:cxn modelId="{FD1A8B57-7B2B-48A4-925B-EA2F41EAE77F}" type="presParOf" srcId="{01853399-3EB5-4DB4-BF97-13F906D17F51}" destId="{A3B8B669-3AF2-4DBE-AB5B-1516874E54E1}" srcOrd="8" destOrd="0" presId="urn:microsoft.com/office/officeart/2008/layout/VerticalCurvedList"/>
    <dgm:cxn modelId="{49B5B0B4-67B9-4E72-BFAD-C87629C9BD02}" type="presParOf" srcId="{A3B8B669-3AF2-4DBE-AB5B-1516874E54E1}" destId="{AACFF315-CFA5-475F-9639-B37E6B5788F2}"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F10670-CF9A-463B-B830-A331DF13BFC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E9B5742-FB2A-47BE-A923-DF7B0251B084}">
      <dgm:prSet phldrT="[Text]" phldr="0"/>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US">
              <a:solidFill>
                <a:schemeClr val="tx1"/>
              </a:solidFill>
              <a:latin typeface="Montserrat"/>
            </a:rPr>
            <a:t>Built as a </a:t>
          </a:r>
          <a:r>
            <a:rPr lang="en-US" b="1">
              <a:solidFill>
                <a:schemeClr val="tx1"/>
              </a:solidFill>
              <a:latin typeface="Montserrat"/>
            </a:rPr>
            <a:t>one size fits all</a:t>
          </a:r>
          <a:r>
            <a:rPr lang="en-US">
              <a:solidFill>
                <a:schemeClr val="tx1"/>
              </a:solidFill>
              <a:latin typeface="Montserrat"/>
            </a:rPr>
            <a:t> FP&amp;A Solutions </a:t>
          </a:r>
          <a:endParaRPr lang="en-US">
            <a:solidFill>
              <a:schemeClr val="tx1"/>
            </a:solidFill>
            <a:effectLst/>
            <a:latin typeface="Montserrat"/>
          </a:endParaRPr>
        </a:p>
      </dgm:t>
    </dgm:pt>
    <dgm:pt modelId="{A08F7D29-7A20-49FA-B6EF-33C7F26F0CE4}" type="parTrans" cxnId="{638EE431-FB84-4986-AEFF-76EB4CD8F424}">
      <dgm:prSet/>
      <dgm:spPr/>
      <dgm:t>
        <a:bodyPr/>
        <a:lstStyle/>
        <a:p>
          <a:endParaRPr lang="en-US"/>
        </a:p>
      </dgm:t>
    </dgm:pt>
    <dgm:pt modelId="{D813DF63-9650-42AA-8E59-E782E3C1AB09}" type="sibTrans" cxnId="{638EE431-FB84-4986-AEFF-76EB4CD8F424}">
      <dgm:prSet/>
      <dgm:spPr>
        <a:ln>
          <a:solidFill>
            <a:schemeClr val="tx1"/>
          </a:solidFill>
        </a:ln>
      </dgm:spPr>
      <dgm:t>
        <a:bodyPr/>
        <a:lstStyle/>
        <a:p>
          <a:endParaRPr lang="en-US"/>
        </a:p>
      </dgm:t>
    </dgm:pt>
    <dgm:pt modelId="{11163C3F-2B90-40DC-B574-B86800180944}">
      <dgm:prSet phldrT="[Text]"/>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CA">
              <a:solidFill>
                <a:srgbClr val="000000"/>
              </a:solidFill>
              <a:effectLst/>
              <a:ea typeface="Times New Roman" panose="02020603050405020304" pitchFamily="18" charset="0"/>
            </a:rPr>
            <a:t>Showcase SAC as a viable replacement of Excel and other manual planning tools</a:t>
          </a:r>
          <a:r>
            <a:rPr lang="en-CA">
              <a:solidFill>
                <a:srgbClr val="000000"/>
              </a:solidFill>
              <a:effectLst/>
              <a:latin typeface="Montserrat"/>
              <a:ea typeface="Times New Roman" panose="02020603050405020304" pitchFamily="18" charset="0"/>
            </a:rPr>
            <a:t> </a:t>
          </a:r>
          <a:r>
            <a:rPr lang="en-CA">
              <a:effectLst/>
              <a:latin typeface="Montserrat"/>
            </a:rPr>
            <a:t> </a:t>
          </a:r>
          <a:endParaRPr lang="en-US"/>
        </a:p>
      </dgm:t>
    </dgm:pt>
    <dgm:pt modelId="{6E621E32-1D8A-4B2B-9E70-26B499170D87}" type="parTrans" cxnId="{0F359144-E19A-4FD0-8B7E-CF20FF400897}">
      <dgm:prSet/>
      <dgm:spPr/>
      <dgm:t>
        <a:bodyPr/>
        <a:lstStyle/>
        <a:p>
          <a:endParaRPr lang="en-US"/>
        </a:p>
      </dgm:t>
    </dgm:pt>
    <dgm:pt modelId="{0B2BC4B1-C4CD-4FA6-A9DF-E9DD262A2252}" type="sibTrans" cxnId="{0F359144-E19A-4FD0-8B7E-CF20FF400897}">
      <dgm:prSet/>
      <dgm:spPr/>
      <dgm:t>
        <a:bodyPr/>
        <a:lstStyle/>
        <a:p>
          <a:endParaRPr lang="en-US"/>
        </a:p>
      </dgm:t>
    </dgm:pt>
    <dgm:pt modelId="{B28B6E0C-65E1-4FBF-AB86-C6D163DB295C}">
      <dgm:prSet phldrT="[Text]"/>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CA">
              <a:solidFill>
                <a:schemeClr val="tx1"/>
              </a:solidFill>
              <a:effectLst/>
              <a:latin typeface="Montserrat"/>
              <a:ea typeface="Times New Roman" panose="02020603050405020304" pitchFamily="18" charset="0"/>
            </a:rPr>
            <a:t>In advance 80</a:t>
          </a:r>
          <a:r>
            <a:rPr lang="en-CA">
              <a:solidFill>
                <a:schemeClr val="tx1"/>
              </a:solidFill>
              <a:effectLst/>
              <a:ea typeface="Times New Roman" panose="02020603050405020304" pitchFamily="18" charset="0"/>
            </a:rPr>
            <a:t>% - 90% of standard planning processes to </a:t>
          </a:r>
          <a:r>
            <a:rPr lang="en-CA" b="1">
              <a:solidFill>
                <a:schemeClr val="tx1"/>
              </a:solidFill>
              <a:effectLst/>
              <a:ea typeface="Times New Roman" panose="02020603050405020304" pitchFamily="18" charset="0"/>
            </a:rPr>
            <a:t>reduce</a:t>
          </a:r>
          <a:r>
            <a:rPr lang="en-CA" b="1">
              <a:solidFill>
                <a:schemeClr val="tx1"/>
              </a:solidFill>
              <a:effectLst/>
              <a:latin typeface="Montserrat"/>
            </a:rPr>
            <a:t> implementation cost</a:t>
          </a:r>
          <a:r>
            <a:rPr lang="en-CA" b="1">
              <a:solidFill>
                <a:schemeClr val="tx1"/>
              </a:solidFill>
              <a:latin typeface="Montserrat"/>
            </a:rPr>
            <a:t> significantly</a:t>
          </a:r>
          <a:endParaRPr lang="en-US" b="1">
            <a:solidFill>
              <a:schemeClr val="tx1"/>
            </a:solidFill>
          </a:endParaRPr>
        </a:p>
      </dgm:t>
    </dgm:pt>
    <dgm:pt modelId="{356065E8-9635-4AAF-A624-1D1C2C97A9A6}" type="parTrans" cxnId="{BEF58CA7-383E-4663-9110-8D66BA738D4C}">
      <dgm:prSet/>
      <dgm:spPr/>
      <dgm:t>
        <a:bodyPr/>
        <a:lstStyle/>
        <a:p>
          <a:endParaRPr lang="en-US"/>
        </a:p>
      </dgm:t>
    </dgm:pt>
    <dgm:pt modelId="{74B5EE2B-B88B-41BA-B849-813B708EE2F6}" type="sibTrans" cxnId="{BEF58CA7-383E-4663-9110-8D66BA738D4C}">
      <dgm:prSet/>
      <dgm:spPr/>
      <dgm:t>
        <a:bodyPr/>
        <a:lstStyle/>
        <a:p>
          <a:endParaRPr lang="en-US"/>
        </a:p>
      </dgm:t>
    </dgm:pt>
    <dgm:pt modelId="{EF468454-D0C3-46C6-BC31-EC132D25B1E0}">
      <dgm:prSet/>
      <dgm:spPr>
        <a:solidFill>
          <a:schemeClr val="tx2">
            <a:lumMod val="10000"/>
            <a:lumOff val="90000"/>
          </a:schemeClr>
        </a:solidFill>
        <a:ln>
          <a:solidFill>
            <a:schemeClr val="tx1"/>
          </a:solidFill>
        </a:ln>
      </dgm:spPr>
      <dgm:t>
        <a:bodyPr/>
        <a:lstStyle/>
        <a:p>
          <a:pPr rtl="0"/>
          <a:r>
            <a:rPr lang="en-CA">
              <a:solidFill>
                <a:srgbClr val="000000"/>
              </a:solidFill>
              <a:effectLst/>
              <a:latin typeface="Montserrat"/>
              <a:ea typeface="Times New Roman" panose="02020603050405020304" pitchFamily="18" charset="0"/>
            </a:rPr>
            <a:t>Present SAC as</a:t>
          </a:r>
          <a:r>
            <a:rPr lang="en-CA">
              <a:solidFill>
                <a:srgbClr val="000000"/>
              </a:solidFill>
              <a:effectLst/>
              <a:ea typeface="Times New Roman" panose="02020603050405020304" pitchFamily="18" charset="0"/>
            </a:rPr>
            <a:t> a planning and budgeting tool </a:t>
          </a:r>
          <a:r>
            <a:rPr lang="en-CA">
              <a:solidFill>
                <a:srgbClr val="000000"/>
              </a:solidFill>
              <a:effectLst/>
              <a:latin typeface="Montserrat"/>
              <a:ea typeface="Times New Roman" panose="02020603050405020304" pitchFamily="18" charset="0"/>
            </a:rPr>
            <a:t>and</a:t>
          </a:r>
          <a:r>
            <a:rPr lang="en-CA">
              <a:solidFill>
                <a:srgbClr val="000000"/>
              </a:solidFill>
              <a:effectLst/>
              <a:ea typeface="Times New Roman" panose="02020603050405020304" pitchFamily="18" charset="0"/>
            </a:rPr>
            <a:t> business application development tool</a:t>
          </a:r>
          <a:endParaRPr lang="en-CA">
            <a:solidFill>
              <a:srgbClr val="000000"/>
            </a:solidFill>
            <a:ea typeface="Times New Roman" panose="02020603050405020304" pitchFamily="18" charset="0"/>
          </a:endParaRPr>
        </a:p>
      </dgm:t>
    </dgm:pt>
    <dgm:pt modelId="{50FBCAF7-0EFC-40C5-B83B-01F8B44B3435}" type="parTrans" cxnId="{3AF38655-2CCA-4AE9-BFCA-7ADCBDD9D7AC}">
      <dgm:prSet/>
      <dgm:spPr/>
      <dgm:t>
        <a:bodyPr/>
        <a:lstStyle/>
        <a:p>
          <a:endParaRPr lang="en-US"/>
        </a:p>
      </dgm:t>
    </dgm:pt>
    <dgm:pt modelId="{CAEF95DF-2B97-4A01-9CA9-A17BB37432BC}" type="sibTrans" cxnId="{3AF38655-2CCA-4AE9-BFCA-7ADCBDD9D7AC}">
      <dgm:prSet/>
      <dgm:spPr/>
      <dgm:t>
        <a:bodyPr/>
        <a:lstStyle/>
        <a:p>
          <a:endParaRPr lang="en-US"/>
        </a:p>
      </dgm:t>
    </dgm:pt>
    <dgm:pt modelId="{DA4745F2-08E6-4701-83FE-2C52FB6F5D66}">
      <dgm:prSet phldr="0"/>
      <dgm:spPr>
        <a:solidFill>
          <a:schemeClr val="tx2">
            <a:lumMod val="10000"/>
            <a:lumOff val="90000"/>
          </a:schemeClr>
        </a:solidFill>
        <a:ln>
          <a:solidFill>
            <a:schemeClr val="tx1"/>
          </a:solidFill>
        </a:ln>
      </dgm:spPr>
      <dgm:t>
        <a:bodyPr/>
        <a:lstStyle/>
        <a:p>
          <a:r>
            <a:rPr lang="en-CA">
              <a:solidFill>
                <a:srgbClr val="000000"/>
              </a:solidFill>
              <a:effectLst/>
              <a:ea typeface="Times New Roman" panose="02020603050405020304" pitchFamily="18" charset="0"/>
            </a:rPr>
            <a:t>Short implementation cycles </a:t>
          </a:r>
          <a:r>
            <a:rPr lang="en-CA" b="1">
              <a:solidFill>
                <a:srgbClr val="000000"/>
              </a:solidFill>
              <a:effectLst/>
              <a:ea typeface="Times New Roman" panose="02020603050405020304" pitchFamily="18" charset="0"/>
            </a:rPr>
            <a:t>(8 – 16 weeks)</a:t>
          </a:r>
          <a:r>
            <a:rPr lang="en-CA" b="1">
              <a:solidFill>
                <a:schemeClr val="tx1"/>
              </a:solidFill>
              <a:effectLst/>
              <a:latin typeface="Montserrat"/>
            </a:rPr>
            <a:t> </a:t>
          </a:r>
          <a:endParaRPr lang="en-US" b="1"/>
        </a:p>
      </dgm:t>
    </dgm:pt>
    <dgm:pt modelId="{8F336007-7963-47EC-A00D-A153D6060495}" type="parTrans" cxnId="{BD1E1FC6-C030-4C22-ABF8-4F3FF011AEC7}">
      <dgm:prSet/>
      <dgm:spPr/>
      <dgm:t>
        <a:bodyPr/>
        <a:lstStyle/>
        <a:p>
          <a:endParaRPr lang="en-US"/>
        </a:p>
      </dgm:t>
    </dgm:pt>
    <dgm:pt modelId="{43BDD459-D4CE-4668-92CC-2E5D3FA3D6D2}" type="sibTrans" cxnId="{BD1E1FC6-C030-4C22-ABF8-4F3FF011AEC7}">
      <dgm:prSet/>
      <dgm:spPr/>
      <dgm:t>
        <a:bodyPr/>
        <a:lstStyle/>
        <a:p>
          <a:endParaRPr lang="en-US"/>
        </a:p>
      </dgm:t>
    </dgm:pt>
    <dgm:pt modelId="{3C3DA200-657F-4E63-8D13-4FE156B3BFE6}">
      <dgm:prSet phldr="0"/>
      <dgm:spPr>
        <a:solidFill>
          <a:schemeClr val="tx2">
            <a:lumMod val="10000"/>
            <a:lumOff val="90000"/>
          </a:schemeClr>
        </a:solidFill>
        <a:ln>
          <a:solidFill>
            <a:schemeClr val="tx1"/>
          </a:solidFill>
        </a:ln>
      </dgm:spPr>
      <dgm:t>
        <a:bodyPr/>
        <a:lstStyle/>
        <a:p>
          <a:pPr rtl="0"/>
          <a:r>
            <a:rPr lang="en-CA" b="0">
              <a:solidFill>
                <a:schemeClr val="tx1"/>
              </a:solidFill>
              <a:latin typeface="Montserrat"/>
            </a:rPr>
            <a:t>SAP SAC as a service provides flexible licencing options</a:t>
          </a:r>
        </a:p>
      </dgm:t>
    </dgm:pt>
    <dgm:pt modelId="{57297D3F-C748-43CC-AD56-9AA811FF235F}" type="parTrans" cxnId="{8409DDE9-733B-4A02-82E7-0309E6D39CE6}">
      <dgm:prSet/>
      <dgm:spPr/>
      <dgm:t>
        <a:bodyPr/>
        <a:lstStyle/>
        <a:p>
          <a:endParaRPr lang="en-US"/>
        </a:p>
      </dgm:t>
    </dgm:pt>
    <dgm:pt modelId="{5DCFF8A8-CDD8-47F2-8409-A303F86A1773}" type="sibTrans" cxnId="{8409DDE9-733B-4A02-82E7-0309E6D39CE6}">
      <dgm:prSet/>
      <dgm:spPr/>
      <dgm:t>
        <a:bodyPr/>
        <a:lstStyle/>
        <a:p>
          <a:endParaRPr lang="en-US"/>
        </a:p>
      </dgm:t>
    </dgm:pt>
    <dgm:pt modelId="{5318DE5D-7D41-41AB-9523-71B7CC422897}" type="pres">
      <dgm:prSet presAssocID="{BFF10670-CF9A-463B-B830-A331DF13BFCC}" presName="Name0" presStyleCnt="0">
        <dgm:presLayoutVars>
          <dgm:chMax val="7"/>
          <dgm:chPref val="7"/>
          <dgm:dir/>
        </dgm:presLayoutVars>
      </dgm:prSet>
      <dgm:spPr/>
    </dgm:pt>
    <dgm:pt modelId="{01853399-3EB5-4DB4-BF97-13F906D17F51}" type="pres">
      <dgm:prSet presAssocID="{BFF10670-CF9A-463B-B830-A331DF13BFCC}" presName="Name1" presStyleCnt="0"/>
      <dgm:spPr/>
    </dgm:pt>
    <dgm:pt modelId="{EBF1F06A-13D8-4C17-9659-82E28E893FEC}" type="pres">
      <dgm:prSet presAssocID="{BFF10670-CF9A-463B-B830-A331DF13BFCC}" presName="cycle" presStyleCnt="0"/>
      <dgm:spPr/>
    </dgm:pt>
    <dgm:pt modelId="{56B25D85-E9A1-496D-BC76-D9957DA94052}" type="pres">
      <dgm:prSet presAssocID="{BFF10670-CF9A-463B-B830-A331DF13BFCC}" presName="srcNode" presStyleLbl="node1" presStyleIdx="0" presStyleCnt="6"/>
      <dgm:spPr/>
    </dgm:pt>
    <dgm:pt modelId="{08E783C4-8DDC-4474-BF87-383D250B1482}" type="pres">
      <dgm:prSet presAssocID="{BFF10670-CF9A-463B-B830-A331DF13BFCC}" presName="conn" presStyleLbl="parChTrans1D2" presStyleIdx="0" presStyleCnt="1"/>
      <dgm:spPr/>
    </dgm:pt>
    <dgm:pt modelId="{CBA8C396-1DE9-4B3C-A76E-FF7255125D77}" type="pres">
      <dgm:prSet presAssocID="{BFF10670-CF9A-463B-B830-A331DF13BFCC}" presName="extraNode" presStyleLbl="node1" presStyleIdx="0" presStyleCnt="6"/>
      <dgm:spPr/>
    </dgm:pt>
    <dgm:pt modelId="{9C7DEC60-EC73-4C29-A3B5-6C4A052BAEBB}" type="pres">
      <dgm:prSet presAssocID="{BFF10670-CF9A-463B-B830-A331DF13BFCC}" presName="dstNode" presStyleLbl="node1" presStyleIdx="0" presStyleCnt="6"/>
      <dgm:spPr/>
    </dgm:pt>
    <dgm:pt modelId="{F7344B8E-A024-4651-9EE8-4CDF4862A73A}" type="pres">
      <dgm:prSet presAssocID="{2E9B5742-FB2A-47BE-A923-DF7B0251B084}" presName="text_1" presStyleLbl="node1" presStyleIdx="0" presStyleCnt="6">
        <dgm:presLayoutVars>
          <dgm:bulletEnabled val="1"/>
        </dgm:presLayoutVars>
      </dgm:prSet>
      <dgm:spPr/>
    </dgm:pt>
    <dgm:pt modelId="{AC5B9EA0-0376-4E99-82E1-F4730A3EE4CF}" type="pres">
      <dgm:prSet presAssocID="{2E9B5742-FB2A-47BE-A923-DF7B0251B084}" presName="accent_1" presStyleCnt="0"/>
      <dgm:spPr/>
    </dgm:pt>
    <dgm:pt modelId="{5417E955-16B0-468F-885A-BC5863E05EDC}" type="pres">
      <dgm:prSet presAssocID="{2E9B5742-FB2A-47BE-A923-DF7B0251B084}" presName="accentRepeatNode" presStyleLbl="solidFgAcc1" presStyleIdx="0" presStyleCnt="6" custLinFactNeighborX="-578" custLinFactNeighborY="-515"/>
      <dgm:spPr/>
    </dgm:pt>
    <dgm:pt modelId="{2F28D624-1301-43D5-BCD7-611B661930EE}" type="pres">
      <dgm:prSet presAssocID="{DA4745F2-08E6-4701-83FE-2C52FB6F5D66}" presName="text_2" presStyleLbl="node1" presStyleIdx="1" presStyleCnt="6">
        <dgm:presLayoutVars>
          <dgm:bulletEnabled val="1"/>
        </dgm:presLayoutVars>
      </dgm:prSet>
      <dgm:spPr/>
    </dgm:pt>
    <dgm:pt modelId="{6C296074-C013-42AE-A4FB-616B8EF6F969}" type="pres">
      <dgm:prSet presAssocID="{DA4745F2-08E6-4701-83FE-2C52FB6F5D66}" presName="accent_2" presStyleCnt="0"/>
      <dgm:spPr/>
    </dgm:pt>
    <dgm:pt modelId="{CDCEB48B-8AE3-4BBF-94B3-F7243304A62D}" type="pres">
      <dgm:prSet presAssocID="{DA4745F2-08E6-4701-83FE-2C52FB6F5D66}" presName="accentRepeatNode" presStyleLbl="solidFgAcc1" presStyleIdx="1" presStyleCnt="6"/>
      <dgm:spPr/>
    </dgm:pt>
    <dgm:pt modelId="{7439B18E-2E11-4AEA-B25E-D81E298E3422}" type="pres">
      <dgm:prSet presAssocID="{EF468454-D0C3-46C6-BC31-EC132D25B1E0}" presName="text_3" presStyleLbl="node1" presStyleIdx="2" presStyleCnt="6">
        <dgm:presLayoutVars>
          <dgm:bulletEnabled val="1"/>
        </dgm:presLayoutVars>
      </dgm:prSet>
      <dgm:spPr/>
    </dgm:pt>
    <dgm:pt modelId="{A317242F-0A0D-4547-8EF1-B29D06DCFACF}" type="pres">
      <dgm:prSet presAssocID="{EF468454-D0C3-46C6-BC31-EC132D25B1E0}" presName="accent_3" presStyleCnt="0"/>
      <dgm:spPr/>
    </dgm:pt>
    <dgm:pt modelId="{6744D551-E43F-4842-A9CF-E9FD875A807D}" type="pres">
      <dgm:prSet presAssocID="{EF468454-D0C3-46C6-BC31-EC132D25B1E0}" presName="accentRepeatNode" presStyleLbl="solidFgAcc1" presStyleIdx="2" presStyleCnt="6"/>
      <dgm:spPr/>
    </dgm:pt>
    <dgm:pt modelId="{896C3B02-BF0A-4A59-B4C0-D5B8DAB6D27B}" type="pres">
      <dgm:prSet presAssocID="{11163C3F-2B90-40DC-B574-B86800180944}" presName="text_4" presStyleLbl="node1" presStyleIdx="3" presStyleCnt="6">
        <dgm:presLayoutVars>
          <dgm:bulletEnabled val="1"/>
        </dgm:presLayoutVars>
      </dgm:prSet>
      <dgm:spPr/>
    </dgm:pt>
    <dgm:pt modelId="{46F649AF-8908-4E4A-B611-9182CA80E1AB}" type="pres">
      <dgm:prSet presAssocID="{11163C3F-2B90-40DC-B574-B86800180944}" presName="accent_4" presStyleCnt="0"/>
      <dgm:spPr/>
    </dgm:pt>
    <dgm:pt modelId="{001193C0-1665-4B74-B586-A75D2CB35E92}" type="pres">
      <dgm:prSet presAssocID="{11163C3F-2B90-40DC-B574-B86800180944}" presName="accentRepeatNode" presStyleLbl="solidFgAcc1" presStyleIdx="3" presStyleCnt="6"/>
      <dgm:spPr/>
    </dgm:pt>
    <dgm:pt modelId="{774FD80A-7214-4895-8E8D-4B1BD65089C5}" type="pres">
      <dgm:prSet presAssocID="{B28B6E0C-65E1-4FBF-AB86-C6D163DB295C}" presName="text_5" presStyleLbl="node1" presStyleIdx="4" presStyleCnt="6">
        <dgm:presLayoutVars>
          <dgm:bulletEnabled val="1"/>
        </dgm:presLayoutVars>
      </dgm:prSet>
      <dgm:spPr/>
    </dgm:pt>
    <dgm:pt modelId="{68B848F4-E52B-47B4-BEDB-D6FD74BA9E0D}" type="pres">
      <dgm:prSet presAssocID="{B28B6E0C-65E1-4FBF-AB86-C6D163DB295C}" presName="accent_5" presStyleCnt="0"/>
      <dgm:spPr/>
    </dgm:pt>
    <dgm:pt modelId="{C65C180D-69D8-429B-878E-836E2CDAD956}" type="pres">
      <dgm:prSet presAssocID="{B28B6E0C-65E1-4FBF-AB86-C6D163DB295C}" presName="accentRepeatNode" presStyleLbl="solidFgAcc1" presStyleIdx="4" presStyleCnt="6"/>
      <dgm:spPr/>
    </dgm:pt>
    <dgm:pt modelId="{33B607E9-65AD-48A1-80C1-5B50D18C281E}" type="pres">
      <dgm:prSet presAssocID="{3C3DA200-657F-4E63-8D13-4FE156B3BFE6}" presName="text_6" presStyleLbl="node1" presStyleIdx="5" presStyleCnt="6">
        <dgm:presLayoutVars>
          <dgm:bulletEnabled val="1"/>
        </dgm:presLayoutVars>
      </dgm:prSet>
      <dgm:spPr/>
    </dgm:pt>
    <dgm:pt modelId="{182056B4-DAC9-4806-9025-9FF067A7DB0B}" type="pres">
      <dgm:prSet presAssocID="{3C3DA200-657F-4E63-8D13-4FE156B3BFE6}" presName="accent_6" presStyleCnt="0"/>
      <dgm:spPr/>
    </dgm:pt>
    <dgm:pt modelId="{2ECCA4C2-F908-4D9B-9558-DFE3717F38C3}" type="pres">
      <dgm:prSet presAssocID="{3C3DA200-657F-4E63-8D13-4FE156B3BFE6}" presName="accentRepeatNode" presStyleLbl="solidFgAcc1" presStyleIdx="5" presStyleCnt="6"/>
      <dgm:spPr/>
    </dgm:pt>
  </dgm:ptLst>
  <dgm:cxnLst>
    <dgm:cxn modelId="{55C32317-F860-485F-8639-D162E4E46055}" type="presOf" srcId="{11163C3F-2B90-40DC-B574-B86800180944}" destId="{896C3B02-BF0A-4A59-B4C0-D5B8DAB6D27B}" srcOrd="0" destOrd="0" presId="urn:microsoft.com/office/officeart/2008/layout/VerticalCurvedList"/>
    <dgm:cxn modelId="{E0CC3418-2CC7-4350-B66C-F11303D10943}" type="presOf" srcId="{3C3DA200-657F-4E63-8D13-4FE156B3BFE6}" destId="{33B607E9-65AD-48A1-80C1-5B50D18C281E}" srcOrd="0" destOrd="0" presId="urn:microsoft.com/office/officeart/2008/layout/VerticalCurvedList"/>
    <dgm:cxn modelId="{46F8E218-C6DC-4511-86FB-B12886ABFF0A}" type="presOf" srcId="{BFF10670-CF9A-463B-B830-A331DF13BFCC}" destId="{5318DE5D-7D41-41AB-9523-71B7CC422897}" srcOrd="0" destOrd="0" presId="urn:microsoft.com/office/officeart/2008/layout/VerticalCurvedList"/>
    <dgm:cxn modelId="{638EE431-FB84-4986-AEFF-76EB4CD8F424}" srcId="{BFF10670-CF9A-463B-B830-A331DF13BFCC}" destId="{2E9B5742-FB2A-47BE-A923-DF7B0251B084}" srcOrd="0" destOrd="0" parTransId="{A08F7D29-7A20-49FA-B6EF-33C7F26F0CE4}" sibTransId="{D813DF63-9650-42AA-8E59-E782E3C1AB09}"/>
    <dgm:cxn modelId="{0F359144-E19A-4FD0-8B7E-CF20FF400897}" srcId="{BFF10670-CF9A-463B-B830-A331DF13BFCC}" destId="{11163C3F-2B90-40DC-B574-B86800180944}" srcOrd="3" destOrd="0" parTransId="{6E621E32-1D8A-4B2B-9E70-26B499170D87}" sibTransId="{0B2BC4B1-C4CD-4FA6-A9DF-E9DD262A2252}"/>
    <dgm:cxn modelId="{3AF38655-2CCA-4AE9-BFCA-7ADCBDD9D7AC}" srcId="{BFF10670-CF9A-463B-B830-A331DF13BFCC}" destId="{EF468454-D0C3-46C6-BC31-EC132D25B1E0}" srcOrd="2" destOrd="0" parTransId="{50FBCAF7-0EFC-40C5-B83B-01F8B44B3435}" sibTransId="{CAEF95DF-2B97-4A01-9CA9-A17BB37432BC}"/>
    <dgm:cxn modelId="{5DFEFF84-A5A5-4B6B-B71D-4AD8CD1CE8BD}" type="presOf" srcId="{2E9B5742-FB2A-47BE-A923-DF7B0251B084}" destId="{F7344B8E-A024-4651-9EE8-4CDF4862A73A}" srcOrd="0" destOrd="0" presId="urn:microsoft.com/office/officeart/2008/layout/VerticalCurvedList"/>
    <dgm:cxn modelId="{BEF58CA7-383E-4663-9110-8D66BA738D4C}" srcId="{BFF10670-CF9A-463B-B830-A331DF13BFCC}" destId="{B28B6E0C-65E1-4FBF-AB86-C6D163DB295C}" srcOrd="4" destOrd="0" parTransId="{356065E8-9635-4AAF-A624-1D1C2C97A9A6}" sibTransId="{74B5EE2B-B88B-41BA-B849-813B708EE2F6}"/>
    <dgm:cxn modelId="{BD1E1FC6-C030-4C22-ABF8-4F3FF011AEC7}" srcId="{BFF10670-CF9A-463B-B830-A331DF13BFCC}" destId="{DA4745F2-08E6-4701-83FE-2C52FB6F5D66}" srcOrd="1" destOrd="0" parTransId="{8F336007-7963-47EC-A00D-A153D6060495}" sibTransId="{43BDD459-D4CE-4668-92CC-2E5D3FA3D6D2}"/>
    <dgm:cxn modelId="{2C3B6BCF-15B4-4200-9AA9-BFD6BD124FCA}" type="presOf" srcId="{D813DF63-9650-42AA-8E59-E782E3C1AB09}" destId="{08E783C4-8DDC-4474-BF87-383D250B1482}" srcOrd="0" destOrd="0" presId="urn:microsoft.com/office/officeart/2008/layout/VerticalCurvedList"/>
    <dgm:cxn modelId="{62F152D0-A7A4-444E-82E9-AD081FFD9905}" type="presOf" srcId="{DA4745F2-08E6-4701-83FE-2C52FB6F5D66}" destId="{2F28D624-1301-43D5-BCD7-611B661930EE}" srcOrd="0" destOrd="0" presId="urn:microsoft.com/office/officeart/2008/layout/VerticalCurvedList"/>
    <dgm:cxn modelId="{8409DDE9-733B-4A02-82E7-0309E6D39CE6}" srcId="{BFF10670-CF9A-463B-B830-A331DF13BFCC}" destId="{3C3DA200-657F-4E63-8D13-4FE156B3BFE6}" srcOrd="5" destOrd="0" parTransId="{57297D3F-C748-43CC-AD56-9AA811FF235F}" sibTransId="{5DCFF8A8-CDD8-47F2-8409-A303F86A1773}"/>
    <dgm:cxn modelId="{DF5E30EB-2EF9-46BA-B6CE-8425279C4C72}" type="presOf" srcId="{B28B6E0C-65E1-4FBF-AB86-C6D163DB295C}" destId="{774FD80A-7214-4895-8E8D-4B1BD65089C5}" srcOrd="0" destOrd="0" presId="urn:microsoft.com/office/officeart/2008/layout/VerticalCurvedList"/>
    <dgm:cxn modelId="{C3C8DBF0-9052-4A11-BAAD-200A0C5F6D84}" type="presOf" srcId="{EF468454-D0C3-46C6-BC31-EC132D25B1E0}" destId="{7439B18E-2E11-4AEA-B25E-D81E298E3422}" srcOrd="0" destOrd="0" presId="urn:microsoft.com/office/officeart/2008/layout/VerticalCurvedList"/>
    <dgm:cxn modelId="{26992A9B-5E50-4580-B1E3-1858F6754EE1}" type="presParOf" srcId="{5318DE5D-7D41-41AB-9523-71B7CC422897}" destId="{01853399-3EB5-4DB4-BF97-13F906D17F51}" srcOrd="0" destOrd="0" presId="urn:microsoft.com/office/officeart/2008/layout/VerticalCurvedList"/>
    <dgm:cxn modelId="{5A7D6CB0-8580-491D-9355-32AEF2C82595}" type="presParOf" srcId="{01853399-3EB5-4DB4-BF97-13F906D17F51}" destId="{EBF1F06A-13D8-4C17-9659-82E28E893FEC}" srcOrd="0" destOrd="0" presId="urn:microsoft.com/office/officeart/2008/layout/VerticalCurvedList"/>
    <dgm:cxn modelId="{FE7B2E14-03DF-4CEC-9DAD-BE25D70B279C}" type="presParOf" srcId="{EBF1F06A-13D8-4C17-9659-82E28E893FEC}" destId="{56B25D85-E9A1-496D-BC76-D9957DA94052}" srcOrd="0" destOrd="0" presId="urn:microsoft.com/office/officeart/2008/layout/VerticalCurvedList"/>
    <dgm:cxn modelId="{0495B3EA-FFEC-45F5-A9CA-A6AE301E4583}" type="presParOf" srcId="{EBF1F06A-13D8-4C17-9659-82E28E893FEC}" destId="{08E783C4-8DDC-4474-BF87-383D250B1482}" srcOrd="1" destOrd="0" presId="urn:microsoft.com/office/officeart/2008/layout/VerticalCurvedList"/>
    <dgm:cxn modelId="{424F9191-4EBB-4014-B23C-038358BB51A0}" type="presParOf" srcId="{EBF1F06A-13D8-4C17-9659-82E28E893FEC}" destId="{CBA8C396-1DE9-4B3C-A76E-FF7255125D77}" srcOrd="2" destOrd="0" presId="urn:microsoft.com/office/officeart/2008/layout/VerticalCurvedList"/>
    <dgm:cxn modelId="{0A09FA09-67A3-4C6B-BBEC-DFB3010B5BFB}" type="presParOf" srcId="{EBF1F06A-13D8-4C17-9659-82E28E893FEC}" destId="{9C7DEC60-EC73-4C29-A3B5-6C4A052BAEBB}" srcOrd="3" destOrd="0" presId="urn:microsoft.com/office/officeart/2008/layout/VerticalCurvedList"/>
    <dgm:cxn modelId="{086AC8E3-8528-404B-B015-270547E14C4A}" type="presParOf" srcId="{01853399-3EB5-4DB4-BF97-13F906D17F51}" destId="{F7344B8E-A024-4651-9EE8-4CDF4862A73A}" srcOrd="1" destOrd="0" presId="urn:microsoft.com/office/officeart/2008/layout/VerticalCurvedList"/>
    <dgm:cxn modelId="{C834180F-938A-47B3-8AD5-53CEC90BA16E}" type="presParOf" srcId="{01853399-3EB5-4DB4-BF97-13F906D17F51}" destId="{AC5B9EA0-0376-4E99-82E1-F4730A3EE4CF}" srcOrd="2" destOrd="0" presId="urn:microsoft.com/office/officeart/2008/layout/VerticalCurvedList"/>
    <dgm:cxn modelId="{59338531-8761-44B5-A8DC-F8F48B10381B}" type="presParOf" srcId="{AC5B9EA0-0376-4E99-82E1-F4730A3EE4CF}" destId="{5417E955-16B0-468F-885A-BC5863E05EDC}" srcOrd="0" destOrd="0" presId="urn:microsoft.com/office/officeart/2008/layout/VerticalCurvedList"/>
    <dgm:cxn modelId="{14B1B2F1-C45C-4D70-8597-42B007FAB4CF}" type="presParOf" srcId="{01853399-3EB5-4DB4-BF97-13F906D17F51}" destId="{2F28D624-1301-43D5-BCD7-611B661930EE}" srcOrd="3" destOrd="0" presId="urn:microsoft.com/office/officeart/2008/layout/VerticalCurvedList"/>
    <dgm:cxn modelId="{0AACDD32-7485-4041-855D-F0B622B16A6A}" type="presParOf" srcId="{01853399-3EB5-4DB4-BF97-13F906D17F51}" destId="{6C296074-C013-42AE-A4FB-616B8EF6F969}" srcOrd="4" destOrd="0" presId="urn:microsoft.com/office/officeart/2008/layout/VerticalCurvedList"/>
    <dgm:cxn modelId="{E1E14EF9-84D3-4C95-BBD2-9B07C58C6A01}" type="presParOf" srcId="{6C296074-C013-42AE-A4FB-616B8EF6F969}" destId="{CDCEB48B-8AE3-4BBF-94B3-F7243304A62D}" srcOrd="0" destOrd="0" presId="urn:microsoft.com/office/officeart/2008/layout/VerticalCurvedList"/>
    <dgm:cxn modelId="{D7E9F130-0BBD-4D26-8513-F3D8CAC41E31}" type="presParOf" srcId="{01853399-3EB5-4DB4-BF97-13F906D17F51}" destId="{7439B18E-2E11-4AEA-B25E-D81E298E3422}" srcOrd="5" destOrd="0" presId="urn:microsoft.com/office/officeart/2008/layout/VerticalCurvedList"/>
    <dgm:cxn modelId="{06BDA75B-6241-4D9F-8D9F-CD806BEB3C46}" type="presParOf" srcId="{01853399-3EB5-4DB4-BF97-13F906D17F51}" destId="{A317242F-0A0D-4547-8EF1-B29D06DCFACF}" srcOrd="6" destOrd="0" presId="urn:microsoft.com/office/officeart/2008/layout/VerticalCurvedList"/>
    <dgm:cxn modelId="{61E7606B-E6BA-4729-B6C2-D086B4DACF37}" type="presParOf" srcId="{A317242F-0A0D-4547-8EF1-B29D06DCFACF}" destId="{6744D551-E43F-4842-A9CF-E9FD875A807D}" srcOrd="0" destOrd="0" presId="urn:microsoft.com/office/officeart/2008/layout/VerticalCurvedList"/>
    <dgm:cxn modelId="{11B4FC62-19BE-46B1-A0F0-80C221ECCD77}" type="presParOf" srcId="{01853399-3EB5-4DB4-BF97-13F906D17F51}" destId="{896C3B02-BF0A-4A59-B4C0-D5B8DAB6D27B}" srcOrd="7" destOrd="0" presId="urn:microsoft.com/office/officeart/2008/layout/VerticalCurvedList"/>
    <dgm:cxn modelId="{2F64E92A-2388-406B-98D9-61001A2E369A}" type="presParOf" srcId="{01853399-3EB5-4DB4-BF97-13F906D17F51}" destId="{46F649AF-8908-4E4A-B611-9182CA80E1AB}" srcOrd="8" destOrd="0" presId="urn:microsoft.com/office/officeart/2008/layout/VerticalCurvedList"/>
    <dgm:cxn modelId="{1290C51F-6141-4C80-BCD5-2B6844E97576}" type="presParOf" srcId="{46F649AF-8908-4E4A-B611-9182CA80E1AB}" destId="{001193C0-1665-4B74-B586-A75D2CB35E92}" srcOrd="0" destOrd="0" presId="urn:microsoft.com/office/officeart/2008/layout/VerticalCurvedList"/>
    <dgm:cxn modelId="{F28FD7DA-30CF-40FF-B737-23FEACA059D2}" type="presParOf" srcId="{01853399-3EB5-4DB4-BF97-13F906D17F51}" destId="{774FD80A-7214-4895-8E8D-4B1BD65089C5}" srcOrd="9" destOrd="0" presId="urn:microsoft.com/office/officeart/2008/layout/VerticalCurvedList"/>
    <dgm:cxn modelId="{F1C5C64A-D0A9-4683-B422-AFFD0AC2B286}" type="presParOf" srcId="{01853399-3EB5-4DB4-BF97-13F906D17F51}" destId="{68B848F4-E52B-47B4-BEDB-D6FD74BA9E0D}" srcOrd="10" destOrd="0" presId="urn:microsoft.com/office/officeart/2008/layout/VerticalCurvedList"/>
    <dgm:cxn modelId="{0A0DADEB-3BF7-4E09-B9B1-708120F57545}" type="presParOf" srcId="{68B848F4-E52B-47B4-BEDB-D6FD74BA9E0D}" destId="{C65C180D-69D8-429B-878E-836E2CDAD956}" srcOrd="0" destOrd="0" presId="urn:microsoft.com/office/officeart/2008/layout/VerticalCurvedList"/>
    <dgm:cxn modelId="{11D5DD33-B8EE-48A0-9DA4-4B32A74D2465}" type="presParOf" srcId="{01853399-3EB5-4DB4-BF97-13F906D17F51}" destId="{33B607E9-65AD-48A1-80C1-5B50D18C281E}" srcOrd="11" destOrd="0" presId="urn:microsoft.com/office/officeart/2008/layout/VerticalCurvedList"/>
    <dgm:cxn modelId="{FF5B4508-1E5B-4A17-B01D-9B874E7A5981}" type="presParOf" srcId="{01853399-3EB5-4DB4-BF97-13F906D17F51}" destId="{182056B4-DAC9-4806-9025-9FF067A7DB0B}" srcOrd="12" destOrd="0" presId="urn:microsoft.com/office/officeart/2008/layout/VerticalCurvedList"/>
    <dgm:cxn modelId="{6B13E5F0-1E7D-481F-B566-982641F62ECA}" type="presParOf" srcId="{182056B4-DAC9-4806-9025-9FF067A7DB0B}" destId="{2ECCA4C2-F908-4D9B-9558-DFE3717F38C3}"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B57513-04F6-4F1A-ABE2-0A1F37354929}"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en-US"/>
        </a:p>
      </dgm:t>
    </dgm:pt>
    <dgm:pt modelId="{9C88D7FB-EFF1-414F-870F-9B39293E882D}">
      <dgm:prSet phldrT="[Text]"/>
      <dgm:spPr/>
      <dgm:t>
        <a:bodyPr/>
        <a:lstStyle/>
        <a:p>
          <a:pPr rtl="0"/>
          <a:r>
            <a:rPr lang="en-US" dirty="0">
              <a:latin typeface="Montserrat"/>
            </a:rPr>
            <a:t> </a:t>
          </a:r>
          <a:r>
            <a:rPr lang="en-US" dirty="0"/>
            <a:t>Obligation</a:t>
          </a:r>
          <a:r>
            <a:rPr lang="en-US" dirty="0">
              <a:latin typeface="Montserrat"/>
            </a:rPr>
            <a:t> Management</a:t>
          </a:r>
          <a:endParaRPr lang="en-US" dirty="0"/>
        </a:p>
      </dgm:t>
    </dgm:pt>
    <dgm:pt modelId="{D0886BD8-49A7-48F6-BB04-437560CACD28}" type="parTrans" cxnId="{EE584035-F903-4E11-B556-2E62DCBAEA45}">
      <dgm:prSet/>
      <dgm:spPr/>
      <dgm:t>
        <a:bodyPr/>
        <a:lstStyle/>
        <a:p>
          <a:endParaRPr lang="en-US"/>
        </a:p>
      </dgm:t>
    </dgm:pt>
    <dgm:pt modelId="{EF829E71-A28B-45FE-8DD6-C76BB973BCEE}" type="sibTrans" cxnId="{EE584035-F903-4E11-B556-2E62DCBAEA45}">
      <dgm:prSet/>
      <dgm:spPr/>
      <dgm:t>
        <a:bodyPr/>
        <a:lstStyle/>
        <a:p>
          <a:endParaRPr lang="en-US"/>
        </a:p>
      </dgm:t>
    </dgm:pt>
    <dgm:pt modelId="{E2E983D7-A2D6-47E4-8EF4-8000B7FFB366}">
      <dgm:prSet phldrT="[Text]"/>
      <dgm:spPr/>
      <dgm:t>
        <a:bodyPr/>
        <a:lstStyle/>
        <a:p>
          <a:pPr rtl="0"/>
          <a:r>
            <a:rPr lang="en-US" dirty="0">
              <a:latin typeface="Montserrat"/>
            </a:rPr>
            <a:t>Cost Estimates</a:t>
          </a:r>
          <a:endParaRPr lang="en-US" dirty="0"/>
        </a:p>
      </dgm:t>
    </dgm:pt>
    <dgm:pt modelId="{DD3369F2-ECC7-4CF9-BACE-A589804B69A9}" type="parTrans" cxnId="{7E20C604-2252-4AFB-B895-80DFF5A9BAA2}">
      <dgm:prSet/>
      <dgm:spPr/>
      <dgm:t>
        <a:bodyPr/>
        <a:lstStyle/>
        <a:p>
          <a:endParaRPr lang="en-US"/>
        </a:p>
      </dgm:t>
    </dgm:pt>
    <dgm:pt modelId="{DF1C2770-73D5-456B-B34F-4AB7815B785B}" type="sibTrans" cxnId="{7E20C604-2252-4AFB-B895-80DFF5A9BAA2}">
      <dgm:prSet/>
      <dgm:spPr/>
      <dgm:t>
        <a:bodyPr/>
        <a:lstStyle/>
        <a:p>
          <a:endParaRPr lang="en-US"/>
        </a:p>
      </dgm:t>
    </dgm:pt>
    <dgm:pt modelId="{EA13EA08-868A-44A1-8A43-2AEEC119F851}">
      <dgm:prSet phldrT="[Text]"/>
      <dgm:spPr/>
      <dgm:t>
        <a:bodyPr/>
        <a:lstStyle/>
        <a:p>
          <a:pPr rtl="0"/>
          <a:r>
            <a:rPr lang="en-US" dirty="0">
              <a:latin typeface="Montserrat"/>
            </a:rPr>
            <a:t>Future Value &amp; NPV</a:t>
          </a:r>
          <a:endParaRPr lang="en-US" dirty="0"/>
        </a:p>
      </dgm:t>
    </dgm:pt>
    <dgm:pt modelId="{7DE5CA9B-3AEA-4CE2-8B5F-36ED03B7BF06}" type="parTrans" cxnId="{77E2E770-4D67-41D6-8EA4-B8F9E3640CC9}">
      <dgm:prSet/>
      <dgm:spPr/>
      <dgm:t>
        <a:bodyPr/>
        <a:lstStyle/>
        <a:p>
          <a:endParaRPr lang="en-US"/>
        </a:p>
      </dgm:t>
    </dgm:pt>
    <dgm:pt modelId="{A7EE958E-EAB5-4EFA-846B-07061DBD76B5}" type="sibTrans" cxnId="{77E2E770-4D67-41D6-8EA4-B8F9E3640CC9}">
      <dgm:prSet/>
      <dgm:spPr/>
      <dgm:t>
        <a:bodyPr/>
        <a:lstStyle/>
        <a:p>
          <a:endParaRPr lang="en-US"/>
        </a:p>
      </dgm:t>
    </dgm:pt>
    <dgm:pt modelId="{1BC843D5-E9D8-4BC6-8F6F-29DAFBFD30D9}">
      <dgm:prSet phldrT="[Text]"/>
      <dgm:spPr/>
      <dgm:t>
        <a:bodyPr/>
        <a:lstStyle/>
        <a:p>
          <a:pPr rtl="0"/>
          <a:r>
            <a:rPr lang="en-US" dirty="0">
              <a:latin typeface="Montserrat"/>
            </a:rPr>
            <a:t>Depreciation Calculation</a:t>
          </a:r>
          <a:endParaRPr lang="en-US" dirty="0"/>
        </a:p>
      </dgm:t>
    </dgm:pt>
    <dgm:pt modelId="{FA578061-1EF9-45DF-96FC-F6807590ADF6}" type="parTrans" cxnId="{FB732DFE-7B03-4F9B-9F55-6429D4B29BA2}">
      <dgm:prSet/>
      <dgm:spPr/>
      <dgm:t>
        <a:bodyPr/>
        <a:lstStyle/>
        <a:p>
          <a:endParaRPr lang="en-US"/>
        </a:p>
      </dgm:t>
    </dgm:pt>
    <dgm:pt modelId="{121E9B33-9A60-4021-96DF-070AE68D6B84}" type="sibTrans" cxnId="{FB732DFE-7B03-4F9B-9F55-6429D4B29BA2}">
      <dgm:prSet/>
      <dgm:spPr/>
      <dgm:t>
        <a:bodyPr/>
        <a:lstStyle/>
        <a:p>
          <a:endParaRPr lang="en-US"/>
        </a:p>
      </dgm:t>
    </dgm:pt>
    <dgm:pt modelId="{C5FF947F-6CAF-485B-B531-83554A8AC4E4}">
      <dgm:prSet phldrT="[Text]"/>
      <dgm:spPr/>
      <dgm:t>
        <a:bodyPr/>
        <a:lstStyle/>
        <a:p>
          <a:pPr rtl="0"/>
          <a:r>
            <a:rPr lang="en-US" dirty="0"/>
            <a:t>Cashflow</a:t>
          </a:r>
          <a:r>
            <a:rPr lang="en-US" dirty="0">
              <a:latin typeface="Montserrat"/>
            </a:rPr>
            <a:t> Generation</a:t>
          </a:r>
          <a:endParaRPr lang="en-US" dirty="0"/>
        </a:p>
      </dgm:t>
    </dgm:pt>
    <dgm:pt modelId="{AAA2FAD6-DE34-43E5-B0C8-834B57BD7007}" type="parTrans" cxnId="{1E21CBA8-43C1-46BD-8C39-51AAAF576879}">
      <dgm:prSet/>
      <dgm:spPr/>
      <dgm:t>
        <a:bodyPr/>
        <a:lstStyle/>
        <a:p>
          <a:endParaRPr lang="en-US"/>
        </a:p>
      </dgm:t>
    </dgm:pt>
    <dgm:pt modelId="{50AC75FA-12DD-435F-9F9A-298EAF03F264}" type="sibTrans" cxnId="{1E21CBA8-43C1-46BD-8C39-51AAAF576879}">
      <dgm:prSet/>
      <dgm:spPr/>
      <dgm:t>
        <a:bodyPr/>
        <a:lstStyle/>
        <a:p>
          <a:endParaRPr lang="en-US"/>
        </a:p>
      </dgm:t>
    </dgm:pt>
    <dgm:pt modelId="{D7C215A8-1C25-4244-AACF-A93B936B6A4E}">
      <dgm:prSet phldrT="[Text]"/>
      <dgm:spPr/>
      <dgm:t>
        <a:bodyPr/>
        <a:lstStyle/>
        <a:p>
          <a:pPr rtl="0"/>
          <a:r>
            <a:rPr lang="en-US" dirty="0">
              <a:latin typeface="Montserrat"/>
            </a:rPr>
            <a:t>Posting entries</a:t>
          </a:r>
          <a:endParaRPr lang="en-US" dirty="0"/>
        </a:p>
      </dgm:t>
    </dgm:pt>
    <dgm:pt modelId="{801936C9-471F-40C2-B1A9-317D91431B14}" type="parTrans" cxnId="{C2D84C29-6980-4718-9077-E7EBF738EBF6}">
      <dgm:prSet/>
      <dgm:spPr/>
      <dgm:t>
        <a:bodyPr/>
        <a:lstStyle/>
        <a:p>
          <a:endParaRPr lang="en-US"/>
        </a:p>
      </dgm:t>
    </dgm:pt>
    <dgm:pt modelId="{FC5BF83B-4E27-41B6-A5A1-7469045D96FF}" type="sibTrans" cxnId="{C2D84C29-6980-4718-9077-E7EBF738EBF6}">
      <dgm:prSet/>
      <dgm:spPr/>
      <dgm:t>
        <a:bodyPr/>
        <a:lstStyle/>
        <a:p>
          <a:endParaRPr lang="en-US"/>
        </a:p>
      </dgm:t>
    </dgm:pt>
    <dgm:pt modelId="{AC284BBD-2904-4765-8056-D3C623BDC5D5}">
      <dgm:prSet phldrT="[Text]"/>
      <dgm:spPr/>
      <dgm:t>
        <a:bodyPr/>
        <a:lstStyle/>
        <a:p>
          <a:pPr rtl="0"/>
          <a:r>
            <a:rPr lang="en-US" dirty="0">
              <a:latin typeface="Montserrat"/>
            </a:rPr>
            <a:t>Physical asset linking</a:t>
          </a:r>
          <a:endParaRPr lang="en-US" dirty="0"/>
        </a:p>
      </dgm:t>
    </dgm:pt>
    <dgm:pt modelId="{E5FC8BF1-EC58-46B8-B8D8-BDC019DE36E1}" type="parTrans" cxnId="{30690C28-82CF-4CB2-8A28-7464636C50E5}">
      <dgm:prSet/>
      <dgm:spPr/>
      <dgm:t>
        <a:bodyPr/>
        <a:lstStyle/>
        <a:p>
          <a:endParaRPr lang="en-US"/>
        </a:p>
      </dgm:t>
    </dgm:pt>
    <dgm:pt modelId="{0FF89389-0020-4028-A2B7-437251EE46CC}" type="sibTrans" cxnId="{30690C28-82CF-4CB2-8A28-7464636C50E5}">
      <dgm:prSet/>
      <dgm:spPr/>
      <dgm:t>
        <a:bodyPr/>
        <a:lstStyle/>
        <a:p>
          <a:endParaRPr lang="en-US"/>
        </a:p>
      </dgm:t>
    </dgm:pt>
    <dgm:pt modelId="{9BE46F08-ACB4-4DC3-8CAF-732538A5D0AA}">
      <dgm:prSet phldrT="[Text]" phldr="0"/>
      <dgm:spPr/>
      <dgm:t>
        <a:bodyPr/>
        <a:lstStyle/>
        <a:p>
          <a:pPr rtl="0"/>
          <a:r>
            <a:rPr lang="en-US" dirty="0">
              <a:latin typeface="Montserrat"/>
            </a:rPr>
            <a:t>Able to use different discount rates</a:t>
          </a:r>
          <a:endParaRPr lang="en-US" dirty="0"/>
        </a:p>
      </dgm:t>
    </dgm:pt>
    <dgm:pt modelId="{E09AA504-A17F-41A7-A461-D3E185FFFBDE}" type="parTrans" cxnId="{7F64D9C6-2988-48FF-B60F-0E6DA979A1D9}">
      <dgm:prSet/>
      <dgm:spPr/>
      <dgm:t>
        <a:bodyPr/>
        <a:lstStyle/>
        <a:p>
          <a:endParaRPr lang="en-US"/>
        </a:p>
      </dgm:t>
    </dgm:pt>
    <dgm:pt modelId="{25A642BE-63A3-4CB1-9568-74FA46BE0D56}" type="sibTrans" cxnId="{7F64D9C6-2988-48FF-B60F-0E6DA979A1D9}">
      <dgm:prSet/>
      <dgm:spPr/>
      <dgm:t>
        <a:bodyPr/>
        <a:lstStyle/>
        <a:p>
          <a:endParaRPr lang="en-US"/>
        </a:p>
      </dgm:t>
    </dgm:pt>
    <dgm:pt modelId="{1C51F9DA-BB1D-40F1-84D1-75BADC93E21C}">
      <dgm:prSet phldrT="[Text]" phldr="0"/>
      <dgm:spPr/>
      <dgm:t>
        <a:bodyPr/>
        <a:lstStyle/>
        <a:p>
          <a:pPr rtl="0"/>
          <a:r>
            <a:rPr lang="en-US" dirty="0">
              <a:latin typeface="Montserrat"/>
            </a:rPr>
            <a:t>Able to handle multiple legal entities </a:t>
          </a:r>
          <a:endParaRPr lang="en-US" dirty="0"/>
        </a:p>
      </dgm:t>
    </dgm:pt>
    <dgm:pt modelId="{627A1FC0-F993-4C4E-B5CB-EC6FD6EC7810}" type="parTrans" cxnId="{FD30F0EB-2427-423F-8CB6-B1FA4CCB34C1}">
      <dgm:prSet/>
      <dgm:spPr/>
      <dgm:t>
        <a:bodyPr/>
        <a:lstStyle/>
        <a:p>
          <a:endParaRPr lang="en-US"/>
        </a:p>
      </dgm:t>
    </dgm:pt>
    <dgm:pt modelId="{9A335D84-A7C7-4758-BF7D-806D43D2B191}" type="sibTrans" cxnId="{FD30F0EB-2427-423F-8CB6-B1FA4CCB34C1}">
      <dgm:prSet/>
      <dgm:spPr/>
      <dgm:t>
        <a:bodyPr/>
        <a:lstStyle/>
        <a:p>
          <a:endParaRPr lang="en-US"/>
        </a:p>
      </dgm:t>
    </dgm:pt>
    <dgm:pt modelId="{E7E47B04-B843-459D-ADB2-035787B42174}">
      <dgm:prSet phldr="0"/>
      <dgm:spPr/>
      <dgm:t>
        <a:bodyPr/>
        <a:lstStyle/>
        <a:p>
          <a:r>
            <a:rPr lang="en-US" dirty="0">
              <a:latin typeface="Montserrat"/>
            </a:rPr>
            <a:t>Obligation</a:t>
          </a:r>
        </a:p>
      </dgm:t>
    </dgm:pt>
    <dgm:pt modelId="{4D226CE6-8C18-4C55-9454-D5A92530975F}" type="parTrans" cxnId="{46290B9F-5BC1-42AF-B8FF-8A5E29AEF93F}">
      <dgm:prSet/>
      <dgm:spPr/>
    </dgm:pt>
    <dgm:pt modelId="{5B53D0CF-2707-49B2-AD96-4597C0BCE8A4}" type="sibTrans" cxnId="{46290B9F-5BC1-42AF-B8FF-8A5E29AEF93F}">
      <dgm:prSet/>
      <dgm:spPr/>
    </dgm:pt>
    <dgm:pt modelId="{71B37B7D-E0B0-4A2B-AEC7-14EF13BEC4A4}">
      <dgm:prSet phldr="0"/>
      <dgm:spPr/>
      <dgm:t>
        <a:bodyPr/>
        <a:lstStyle/>
        <a:p>
          <a:r>
            <a:rPr lang="en-US" dirty="0">
              <a:latin typeface="Montserrat"/>
            </a:rPr>
            <a:t>Asset</a:t>
          </a:r>
        </a:p>
      </dgm:t>
    </dgm:pt>
    <dgm:pt modelId="{2C515930-D196-4537-A905-06CFF39C2A4D}" type="parTrans" cxnId="{2DC4D55F-3471-46B5-9C64-9E53F6E9598E}">
      <dgm:prSet/>
      <dgm:spPr/>
    </dgm:pt>
    <dgm:pt modelId="{46B42A73-E80E-4372-9675-04971276E72B}" type="sibTrans" cxnId="{2DC4D55F-3471-46B5-9C64-9E53F6E9598E}">
      <dgm:prSet/>
      <dgm:spPr/>
    </dgm:pt>
    <dgm:pt modelId="{2939EBE7-25BA-4A87-863A-995F3CF7400E}">
      <dgm:prSet phldr="0"/>
      <dgm:spPr/>
      <dgm:t>
        <a:bodyPr/>
        <a:lstStyle/>
        <a:p>
          <a:pPr rtl="0"/>
          <a:r>
            <a:rPr lang="en-US" dirty="0">
              <a:latin typeface="Montserrat"/>
            </a:rPr>
            <a:t>Depreciaton</a:t>
          </a:r>
        </a:p>
      </dgm:t>
    </dgm:pt>
    <dgm:pt modelId="{0C0D4F66-76C0-4864-BADA-155CCA48AC75}" type="parTrans" cxnId="{5FA3A26A-69B2-4079-B1EB-E284DBE82A8F}">
      <dgm:prSet/>
      <dgm:spPr/>
    </dgm:pt>
    <dgm:pt modelId="{7DE72FD3-9D48-4E4F-B71B-2461785E9CC5}" type="sibTrans" cxnId="{5FA3A26A-69B2-4079-B1EB-E284DBE82A8F}">
      <dgm:prSet/>
      <dgm:spPr/>
    </dgm:pt>
    <dgm:pt modelId="{0AB3749D-C2D9-4B86-A0E7-3AC157FF4B2E}">
      <dgm:prSet phldr="0"/>
      <dgm:spPr/>
      <dgm:t>
        <a:bodyPr/>
        <a:lstStyle/>
        <a:p>
          <a:pPr rtl="0"/>
          <a:r>
            <a:rPr lang="en-US" dirty="0">
              <a:latin typeface="Montserrat"/>
            </a:rPr>
            <a:t>Sale of an Asset</a:t>
          </a:r>
        </a:p>
      </dgm:t>
    </dgm:pt>
    <dgm:pt modelId="{00060705-98C4-4005-93C9-E55D1A9CEBC9}" type="parTrans" cxnId="{FEAF1864-B43B-48D5-B435-6EA6A004AABF}">
      <dgm:prSet/>
      <dgm:spPr/>
    </dgm:pt>
    <dgm:pt modelId="{9ECC0908-C3C2-47B3-9EF4-D3B1799D8EDB}" type="sibTrans" cxnId="{FEAF1864-B43B-48D5-B435-6EA6A004AABF}">
      <dgm:prSet/>
      <dgm:spPr/>
    </dgm:pt>
    <dgm:pt modelId="{1E4DAED0-E3BC-43B3-A554-A0BA39BE9923}" type="pres">
      <dgm:prSet presAssocID="{DDB57513-04F6-4F1A-ABE2-0A1F37354929}" presName="linear" presStyleCnt="0">
        <dgm:presLayoutVars>
          <dgm:dir/>
          <dgm:animLvl val="lvl"/>
          <dgm:resizeHandles val="exact"/>
        </dgm:presLayoutVars>
      </dgm:prSet>
      <dgm:spPr/>
    </dgm:pt>
    <dgm:pt modelId="{503D1CCC-39A9-4EBD-B901-32779A004DB8}" type="pres">
      <dgm:prSet presAssocID="{9C88D7FB-EFF1-414F-870F-9B39293E882D}" presName="parentLin" presStyleCnt="0"/>
      <dgm:spPr/>
    </dgm:pt>
    <dgm:pt modelId="{E97B99BF-73A1-46CE-8858-A59D69615EBC}" type="pres">
      <dgm:prSet presAssocID="{9C88D7FB-EFF1-414F-870F-9B39293E882D}" presName="parentLeftMargin" presStyleLbl="node1" presStyleIdx="0" presStyleCnt="9"/>
      <dgm:spPr/>
    </dgm:pt>
    <dgm:pt modelId="{DCF23690-240E-407E-BD7E-1FD215A7CC1B}" type="pres">
      <dgm:prSet presAssocID="{9C88D7FB-EFF1-414F-870F-9B39293E882D}" presName="parentText" presStyleLbl="node1" presStyleIdx="0" presStyleCnt="9">
        <dgm:presLayoutVars>
          <dgm:chMax val="0"/>
          <dgm:bulletEnabled val="1"/>
        </dgm:presLayoutVars>
      </dgm:prSet>
      <dgm:spPr/>
    </dgm:pt>
    <dgm:pt modelId="{F4A91677-C866-4CD0-8211-413259284685}" type="pres">
      <dgm:prSet presAssocID="{9C88D7FB-EFF1-414F-870F-9B39293E882D}" presName="negativeSpace" presStyleCnt="0"/>
      <dgm:spPr/>
    </dgm:pt>
    <dgm:pt modelId="{FA88814B-CC06-4B9C-9D5C-96649990F928}" type="pres">
      <dgm:prSet presAssocID="{9C88D7FB-EFF1-414F-870F-9B39293E882D}" presName="childText" presStyleLbl="conFgAcc1" presStyleIdx="0" presStyleCnt="9">
        <dgm:presLayoutVars>
          <dgm:bulletEnabled val="1"/>
        </dgm:presLayoutVars>
      </dgm:prSet>
      <dgm:spPr/>
    </dgm:pt>
    <dgm:pt modelId="{FBE41462-C2E6-4D25-948A-834DF6715AF8}" type="pres">
      <dgm:prSet presAssocID="{EF829E71-A28B-45FE-8DD6-C76BB973BCEE}" presName="spaceBetweenRectangles" presStyleCnt="0"/>
      <dgm:spPr/>
    </dgm:pt>
    <dgm:pt modelId="{393CF1DF-442A-4C29-A327-048AC3F91241}" type="pres">
      <dgm:prSet presAssocID="{E2E983D7-A2D6-47E4-8EF4-8000B7FFB366}" presName="parentLin" presStyleCnt="0"/>
      <dgm:spPr/>
    </dgm:pt>
    <dgm:pt modelId="{A815276E-17A1-4CA9-8499-781AF0F10BC5}" type="pres">
      <dgm:prSet presAssocID="{E2E983D7-A2D6-47E4-8EF4-8000B7FFB366}" presName="parentLeftMargin" presStyleLbl="node1" presStyleIdx="0" presStyleCnt="9"/>
      <dgm:spPr/>
    </dgm:pt>
    <dgm:pt modelId="{E238EC23-42A6-4858-AF98-0F9194799340}" type="pres">
      <dgm:prSet presAssocID="{E2E983D7-A2D6-47E4-8EF4-8000B7FFB366}" presName="parentText" presStyleLbl="node1" presStyleIdx="1" presStyleCnt="9">
        <dgm:presLayoutVars>
          <dgm:chMax val="0"/>
          <dgm:bulletEnabled val="1"/>
        </dgm:presLayoutVars>
      </dgm:prSet>
      <dgm:spPr/>
    </dgm:pt>
    <dgm:pt modelId="{E8178C36-5559-43F8-AC59-3D606286B08D}" type="pres">
      <dgm:prSet presAssocID="{E2E983D7-A2D6-47E4-8EF4-8000B7FFB366}" presName="negativeSpace" presStyleCnt="0"/>
      <dgm:spPr/>
    </dgm:pt>
    <dgm:pt modelId="{22AB171B-FA7F-4AEA-BA08-B36C3B3A5A99}" type="pres">
      <dgm:prSet presAssocID="{E2E983D7-A2D6-47E4-8EF4-8000B7FFB366}" presName="childText" presStyleLbl="conFgAcc1" presStyleIdx="1" presStyleCnt="9">
        <dgm:presLayoutVars>
          <dgm:bulletEnabled val="1"/>
        </dgm:presLayoutVars>
      </dgm:prSet>
      <dgm:spPr/>
    </dgm:pt>
    <dgm:pt modelId="{02215150-B997-4166-9E44-339EC6D72A7F}" type="pres">
      <dgm:prSet presAssocID="{DF1C2770-73D5-456B-B34F-4AB7815B785B}" presName="spaceBetweenRectangles" presStyleCnt="0"/>
      <dgm:spPr/>
    </dgm:pt>
    <dgm:pt modelId="{B60BA870-179C-4871-AF4D-4E6D7D3FFB18}" type="pres">
      <dgm:prSet presAssocID="{EA13EA08-868A-44A1-8A43-2AEEC119F851}" presName="parentLin" presStyleCnt="0"/>
      <dgm:spPr/>
    </dgm:pt>
    <dgm:pt modelId="{A552B9E1-442B-404A-9359-2F517C123970}" type="pres">
      <dgm:prSet presAssocID="{EA13EA08-868A-44A1-8A43-2AEEC119F851}" presName="parentLeftMargin" presStyleLbl="node1" presStyleIdx="1" presStyleCnt="9"/>
      <dgm:spPr/>
    </dgm:pt>
    <dgm:pt modelId="{A2F4900F-E643-4AE3-8971-FC7E549D6017}" type="pres">
      <dgm:prSet presAssocID="{EA13EA08-868A-44A1-8A43-2AEEC119F851}" presName="parentText" presStyleLbl="node1" presStyleIdx="2" presStyleCnt="9">
        <dgm:presLayoutVars>
          <dgm:chMax val="0"/>
          <dgm:bulletEnabled val="1"/>
        </dgm:presLayoutVars>
      </dgm:prSet>
      <dgm:spPr/>
    </dgm:pt>
    <dgm:pt modelId="{E9C76A64-E0E7-4455-A0C7-9ACA21B346A9}" type="pres">
      <dgm:prSet presAssocID="{EA13EA08-868A-44A1-8A43-2AEEC119F851}" presName="negativeSpace" presStyleCnt="0"/>
      <dgm:spPr/>
    </dgm:pt>
    <dgm:pt modelId="{030ABBF2-F3D3-4F9F-991F-7A17DB659FA0}" type="pres">
      <dgm:prSet presAssocID="{EA13EA08-868A-44A1-8A43-2AEEC119F851}" presName="childText" presStyleLbl="conFgAcc1" presStyleIdx="2" presStyleCnt="9">
        <dgm:presLayoutVars>
          <dgm:bulletEnabled val="1"/>
        </dgm:presLayoutVars>
      </dgm:prSet>
      <dgm:spPr/>
    </dgm:pt>
    <dgm:pt modelId="{1FC59B4F-080E-485C-83DB-4AD29C2FE342}" type="pres">
      <dgm:prSet presAssocID="{A7EE958E-EAB5-4EFA-846B-07061DBD76B5}" presName="spaceBetweenRectangles" presStyleCnt="0"/>
      <dgm:spPr/>
    </dgm:pt>
    <dgm:pt modelId="{442268AF-BE90-456B-85A1-8697F21174E2}" type="pres">
      <dgm:prSet presAssocID="{1BC843D5-E9D8-4BC6-8F6F-29DAFBFD30D9}" presName="parentLin" presStyleCnt="0"/>
      <dgm:spPr/>
    </dgm:pt>
    <dgm:pt modelId="{AA35CD20-AD05-4A57-92FD-CB7D3AE40FB8}" type="pres">
      <dgm:prSet presAssocID="{1BC843D5-E9D8-4BC6-8F6F-29DAFBFD30D9}" presName="parentLeftMargin" presStyleLbl="node1" presStyleIdx="2" presStyleCnt="9"/>
      <dgm:spPr/>
    </dgm:pt>
    <dgm:pt modelId="{CBB4EC75-BD0F-493F-A627-EE4A6BEBBF5E}" type="pres">
      <dgm:prSet presAssocID="{1BC843D5-E9D8-4BC6-8F6F-29DAFBFD30D9}" presName="parentText" presStyleLbl="node1" presStyleIdx="3" presStyleCnt="9">
        <dgm:presLayoutVars>
          <dgm:chMax val="0"/>
          <dgm:bulletEnabled val="1"/>
        </dgm:presLayoutVars>
      </dgm:prSet>
      <dgm:spPr/>
    </dgm:pt>
    <dgm:pt modelId="{E5340616-43B7-4E1B-923A-EFB3D3490AEB}" type="pres">
      <dgm:prSet presAssocID="{1BC843D5-E9D8-4BC6-8F6F-29DAFBFD30D9}" presName="negativeSpace" presStyleCnt="0"/>
      <dgm:spPr/>
    </dgm:pt>
    <dgm:pt modelId="{51B02118-FB98-4C53-AEE4-EE560801FFA3}" type="pres">
      <dgm:prSet presAssocID="{1BC843D5-E9D8-4BC6-8F6F-29DAFBFD30D9}" presName="childText" presStyleLbl="conFgAcc1" presStyleIdx="3" presStyleCnt="9">
        <dgm:presLayoutVars>
          <dgm:bulletEnabled val="1"/>
        </dgm:presLayoutVars>
      </dgm:prSet>
      <dgm:spPr/>
    </dgm:pt>
    <dgm:pt modelId="{ABC6AA7F-93B7-477E-AE42-4A2E3B82B1F5}" type="pres">
      <dgm:prSet presAssocID="{121E9B33-9A60-4021-96DF-070AE68D6B84}" presName="spaceBetweenRectangles" presStyleCnt="0"/>
      <dgm:spPr/>
    </dgm:pt>
    <dgm:pt modelId="{B711645D-438C-403B-9B0F-718776895CDC}" type="pres">
      <dgm:prSet presAssocID="{C5FF947F-6CAF-485B-B531-83554A8AC4E4}" presName="parentLin" presStyleCnt="0"/>
      <dgm:spPr/>
    </dgm:pt>
    <dgm:pt modelId="{C898DB72-AD2F-4744-B002-3AF835CAC3A3}" type="pres">
      <dgm:prSet presAssocID="{C5FF947F-6CAF-485B-B531-83554A8AC4E4}" presName="parentLeftMargin" presStyleLbl="node1" presStyleIdx="3" presStyleCnt="9"/>
      <dgm:spPr/>
    </dgm:pt>
    <dgm:pt modelId="{0EB25B2A-5AC0-4A4E-8BCB-7CBDB516E254}" type="pres">
      <dgm:prSet presAssocID="{C5FF947F-6CAF-485B-B531-83554A8AC4E4}" presName="parentText" presStyleLbl="node1" presStyleIdx="4" presStyleCnt="9">
        <dgm:presLayoutVars>
          <dgm:chMax val="0"/>
          <dgm:bulletEnabled val="1"/>
        </dgm:presLayoutVars>
      </dgm:prSet>
      <dgm:spPr/>
    </dgm:pt>
    <dgm:pt modelId="{0C410768-8703-4A74-AAC7-35DE8CDB03FE}" type="pres">
      <dgm:prSet presAssocID="{C5FF947F-6CAF-485B-B531-83554A8AC4E4}" presName="negativeSpace" presStyleCnt="0"/>
      <dgm:spPr/>
    </dgm:pt>
    <dgm:pt modelId="{AF97554B-ED68-457E-B5B2-BA201597C596}" type="pres">
      <dgm:prSet presAssocID="{C5FF947F-6CAF-485B-B531-83554A8AC4E4}" presName="childText" presStyleLbl="conFgAcc1" presStyleIdx="4" presStyleCnt="9">
        <dgm:presLayoutVars>
          <dgm:bulletEnabled val="1"/>
        </dgm:presLayoutVars>
      </dgm:prSet>
      <dgm:spPr/>
    </dgm:pt>
    <dgm:pt modelId="{A09DFFFD-1BBF-45F5-9060-A3DD961EE8D0}" type="pres">
      <dgm:prSet presAssocID="{50AC75FA-12DD-435F-9F9A-298EAF03F264}" presName="spaceBetweenRectangles" presStyleCnt="0"/>
      <dgm:spPr/>
    </dgm:pt>
    <dgm:pt modelId="{9731F734-4F79-4EB8-921B-D91BCDD6350D}" type="pres">
      <dgm:prSet presAssocID="{D7C215A8-1C25-4244-AACF-A93B936B6A4E}" presName="parentLin" presStyleCnt="0"/>
      <dgm:spPr/>
    </dgm:pt>
    <dgm:pt modelId="{DC8D419D-A840-4FE1-80CE-DF5E014504C3}" type="pres">
      <dgm:prSet presAssocID="{D7C215A8-1C25-4244-AACF-A93B936B6A4E}" presName="parentLeftMargin" presStyleLbl="node1" presStyleIdx="4" presStyleCnt="9"/>
      <dgm:spPr/>
    </dgm:pt>
    <dgm:pt modelId="{DB5D501B-7863-4067-BF7B-E143F3E177A1}" type="pres">
      <dgm:prSet presAssocID="{D7C215A8-1C25-4244-AACF-A93B936B6A4E}" presName="parentText" presStyleLbl="node1" presStyleIdx="5" presStyleCnt="9">
        <dgm:presLayoutVars>
          <dgm:chMax val="0"/>
          <dgm:bulletEnabled val="1"/>
        </dgm:presLayoutVars>
      </dgm:prSet>
      <dgm:spPr/>
    </dgm:pt>
    <dgm:pt modelId="{3F06B2C8-A190-41E6-98E3-F7C1C547E50D}" type="pres">
      <dgm:prSet presAssocID="{D7C215A8-1C25-4244-AACF-A93B936B6A4E}" presName="negativeSpace" presStyleCnt="0"/>
      <dgm:spPr/>
    </dgm:pt>
    <dgm:pt modelId="{1558F93D-EAC0-45E5-899D-897DCBBBE5F5}" type="pres">
      <dgm:prSet presAssocID="{D7C215A8-1C25-4244-AACF-A93B936B6A4E}" presName="childText" presStyleLbl="conFgAcc1" presStyleIdx="5" presStyleCnt="9">
        <dgm:presLayoutVars>
          <dgm:bulletEnabled val="1"/>
        </dgm:presLayoutVars>
      </dgm:prSet>
      <dgm:spPr/>
    </dgm:pt>
    <dgm:pt modelId="{9E383E22-D549-42DF-BD6F-F4971A1E7139}" type="pres">
      <dgm:prSet presAssocID="{FC5BF83B-4E27-41B6-A5A1-7469045D96FF}" presName="spaceBetweenRectangles" presStyleCnt="0"/>
      <dgm:spPr/>
    </dgm:pt>
    <dgm:pt modelId="{DF84FAC1-3CA1-40DB-911B-137584414739}" type="pres">
      <dgm:prSet presAssocID="{AC284BBD-2904-4765-8056-D3C623BDC5D5}" presName="parentLin" presStyleCnt="0"/>
      <dgm:spPr/>
    </dgm:pt>
    <dgm:pt modelId="{E27A3A34-EF8A-4B57-841B-49355815893E}" type="pres">
      <dgm:prSet presAssocID="{AC284BBD-2904-4765-8056-D3C623BDC5D5}" presName="parentLeftMargin" presStyleLbl="node1" presStyleIdx="5" presStyleCnt="9"/>
      <dgm:spPr/>
    </dgm:pt>
    <dgm:pt modelId="{FEE63156-4690-4300-91F4-83D74C6F301E}" type="pres">
      <dgm:prSet presAssocID="{AC284BBD-2904-4765-8056-D3C623BDC5D5}" presName="parentText" presStyleLbl="node1" presStyleIdx="6" presStyleCnt="9">
        <dgm:presLayoutVars>
          <dgm:chMax val="0"/>
          <dgm:bulletEnabled val="1"/>
        </dgm:presLayoutVars>
      </dgm:prSet>
      <dgm:spPr/>
    </dgm:pt>
    <dgm:pt modelId="{8B64F7FF-7AB7-4BA2-8874-05578D7F8E6B}" type="pres">
      <dgm:prSet presAssocID="{AC284BBD-2904-4765-8056-D3C623BDC5D5}" presName="negativeSpace" presStyleCnt="0"/>
      <dgm:spPr/>
    </dgm:pt>
    <dgm:pt modelId="{72993205-945B-4DF1-93F3-5DDDBB506078}" type="pres">
      <dgm:prSet presAssocID="{AC284BBD-2904-4765-8056-D3C623BDC5D5}" presName="childText" presStyleLbl="conFgAcc1" presStyleIdx="6" presStyleCnt="9">
        <dgm:presLayoutVars>
          <dgm:bulletEnabled val="1"/>
        </dgm:presLayoutVars>
      </dgm:prSet>
      <dgm:spPr/>
    </dgm:pt>
    <dgm:pt modelId="{005263B1-A55D-40A9-AC77-B6C2E693326A}" type="pres">
      <dgm:prSet presAssocID="{0FF89389-0020-4028-A2B7-437251EE46CC}" presName="spaceBetweenRectangles" presStyleCnt="0"/>
      <dgm:spPr/>
    </dgm:pt>
    <dgm:pt modelId="{75212553-E4F2-46BC-BCC1-03C7E990A875}" type="pres">
      <dgm:prSet presAssocID="{9BE46F08-ACB4-4DC3-8CAF-732538A5D0AA}" presName="parentLin" presStyleCnt="0"/>
      <dgm:spPr/>
    </dgm:pt>
    <dgm:pt modelId="{56B296F4-A7A1-446E-830D-AC3D426F4476}" type="pres">
      <dgm:prSet presAssocID="{9BE46F08-ACB4-4DC3-8CAF-732538A5D0AA}" presName="parentLeftMargin" presStyleLbl="node1" presStyleIdx="6" presStyleCnt="9"/>
      <dgm:spPr/>
    </dgm:pt>
    <dgm:pt modelId="{79EE5CEE-A74C-4C30-B551-5B7DB0791E8B}" type="pres">
      <dgm:prSet presAssocID="{9BE46F08-ACB4-4DC3-8CAF-732538A5D0AA}" presName="parentText" presStyleLbl="node1" presStyleIdx="7" presStyleCnt="9">
        <dgm:presLayoutVars>
          <dgm:chMax val="0"/>
          <dgm:bulletEnabled val="1"/>
        </dgm:presLayoutVars>
      </dgm:prSet>
      <dgm:spPr/>
    </dgm:pt>
    <dgm:pt modelId="{C112EB8B-261C-46DD-B6AD-F5AC6DBDE8C1}" type="pres">
      <dgm:prSet presAssocID="{9BE46F08-ACB4-4DC3-8CAF-732538A5D0AA}" presName="negativeSpace" presStyleCnt="0"/>
      <dgm:spPr/>
    </dgm:pt>
    <dgm:pt modelId="{2BE71024-C392-4498-AE92-ACF9324C779A}" type="pres">
      <dgm:prSet presAssocID="{9BE46F08-ACB4-4DC3-8CAF-732538A5D0AA}" presName="childText" presStyleLbl="conFgAcc1" presStyleIdx="7" presStyleCnt="9">
        <dgm:presLayoutVars>
          <dgm:bulletEnabled val="1"/>
        </dgm:presLayoutVars>
      </dgm:prSet>
      <dgm:spPr/>
    </dgm:pt>
    <dgm:pt modelId="{A14CD738-1BA3-4401-A4B1-A7808C7BB31D}" type="pres">
      <dgm:prSet presAssocID="{25A642BE-63A3-4CB1-9568-74FA46BE0D56}" presName="spaceBetweenRectangles" presStyleCnt="0"/>
      <dgm:spPr/>
    </dgm:pt>
    <dgm:pt modelId="{13D2237D-F22C-4F7A-BDF8-B0407B23D345}" type="pres">
      <dgm:prSet presAssocID="{1C51F9DA-BB1D-40F1-84D1-75BADC93E21C}" presName="parentLin" presStyleCnt="0"/>
      <dgm:spPr/>
    </dgm:pt>
    <dgm:pt modelId="{8DFBA549-8C35-46C3-A666-6E6079371A8A}" type="pres">
      <dgm:prSet presAssocID="{1C51F9DA-BB1D-40F1-84D1-75BADC93E21C}" presName="parentLeftMargin" presStyleLbl="node1" presStyleIdx="7" presStyleCnt="9"/>
      <dgm:spPr/>
    </dgm:pt>
    <dgm:pt modelId="{F57447D1-1897-4085-BDE8-DAC7D8B668B1}" type="pres">
      <dgm:prSet presAssocID="{1C51F9DA-BB1D-40F1-84D1-75BADC93E21C}" presName="parentText" presStyleLbl="node1" presStyleIdx="8" presStyleCnt="9">
        <dgm:presLayoutVars>
          <dgm:chMax val="0"/>
          <dgm:bulletEnabled val="1"/>
        </dgm:presLayoutVars>
      </dgm:prSet>
      <dgm:spPr/>
    </dgm:pt>
    <dgm:pt modelId="{5785E6C7-DDCD-402C-A072-875163872A5F}" type="pres">
      <dgm:prSet presAssocID="{1C51F9DA-BB1D-40F1-84D1-75BADC93E21C}" presName="negativeSpace" presStyleCnt="0"/>
      <dgm:spPr/>
    </dgm:pt>
    <dgm:pt modelId="{ED70CDF2-CA0F-43C5-BDB0-037A374F8023}" type="pres">
      <dgm:prSet presAssocID="{1C51F9DA-BB1D-40F1-84D1-75BADC93E21C}" presName="childText" presStyleLbl="conFgAcc1" presStyleIdx="8" presStyleCnt="9">
        <dgm:presLayoutVars>
          <dgm:bulletEnabled val="1"/>
        </dgm:presLayoutVars>
      </dgm:prSet>
      <dgm:spPr/>
    </dgm:pt>
  </dgm:ptLst>
  <dgm:cxnLst>
    <dgm:cxn modelId="{ABC19201-454F-412F-B371-7DA27DA2B5F3}" type="presOf" srcId="{E2E983D7-A2D6-47E4-8EF4-8000B7FFB366}" destId="{E238EC23-42A6-4858-AF98-0F9194799340}" srcOrd="1" destOrd="0" presId="urn:microsoft.com/office/officeart/2005/8/layout/list1"/>
    <dgm:cxn modelId="{7E20C604-2252-4AFB-B895-80DFF5A9BAA2}" srcId="{DDB57513-04F6-4F1A-ABE2-0A1F37354929}" destId="{E2E983D7-A2D6-47E4-8EF4-8000B7FFB366}" srcOrd="1" destOrd="0" parTransId="{DD3369F2-ECC7-4CF9-BACE-A589804B69A9}" sibTransId="{DF1C2770-73D5-456B-B34F-4AB7815B785B}"/>
    <dgm:cxn modelId="{32F6DE0F-6638-432E-9A1B-7CF0F4F341E6}" type="presOf" srcId="{71B37B7D-E0B0-4A2B-AEC7-14EF13BEC4A4}" destId="{1558F93D-EAC0-45E5-899D-897DCBBBE5F5}" srcOrd="0" destOrd="1" presId="urn:microsoft.com/office/officeart/2005/8/layout/list1"/>
    <dgm:cxn modelId="{30690C28-82CF-4CB2-8A28-7464636C50E5}" srcId="{DDB57513-04F6-4F1A-ABE2-0A1F37354929}" destId="{AC284BBD-2904-4765-8056-D3C623BDC5D5}" srcOrd="6" destOrd="0" parTransId="{E5FC8BF1-EC58-46B8-B8D8-BDC019DE36E1}" sibTransId="{0FF89389-0020-4028-A2B7-437251EE46CC}"/>
    <dgm:cxn modelId="{C2D84C29-6980-4718-9077-E7EBF738EBF6}" srcId="{DDB57513-04F6-4F1A-ABE2-0A1F37354929}" destId="{D7C215A8-1C25-4244-AACF-A93B936B6A4E}" srcOrd="5" destOrd="0" parTransId="{801936C9-471F-40C2-B1A9-317D91431B14}" sibTransId="{FC5BF83B-4E27-41B6-A5A1-7469045D96FF}"/>
    <dgm:cxn modelId="{EE584035-F903-4E11-B556-2E62DCBAEA45}" srcId="{DDB57513-04F6-4F1A-ABE2-0A1F37354929}" destId="{9C88D7FB-EFF1-414F-870F-9B39293E882D}" srcOrd="0" destOrd="0" parTransId="{D0886BD8-49A7-48F6-BB04-437560CACD28}" sibTransId="{EF829E71-A28B-45FE-8DD6-C76BB973BCEE}"/>
    <dgm:cxn modelId="{2DC4D55F-3471-46B5-9C64-9E53F6E9598E}" srcId="{D7C215A8-1C25-4244-AACF-A93B936B6A4E}" destId="{71B37B7D-E0B0-4A2B-AEC7-14EF13BEC4A4}" srcOrd="1" destOrd="0" parTransId="{2C515930-D196-4537-A905-06CFF39C2A4D}" sibTransId="{46B42A73-E80E-4372-9675-04971276E72B}"/>
    <dgm:cxn modelId="{FEAF1864-B43B-48D5-B435-6EA6A004AABF}" srcId="{D7C215A8-1C25-4244-AACF-A93B936B6A4E}" destId="{0AB3749D-C2D9-4B86-A0E7-3AC157FF4B2E}" srcOrd="3" destOrd="0" parTransId="{00060705-98C4-4005-93C9-E55D1A9CEBC9}" sibTransId="{9ECC0908-C3C2-47B3-9EF4-D3B1799D8EDB}"/>
    <dgm:cxn modelId="{902AA667-6ED0-4C07-86A9-A31FFAEDDA42}" type="presOf" srcId="{DDB57513-04F6-4F1A-ABE2-0A1F37354929}" destId="{1E4DAED0-E3BC-43B3-A554-A0BA39BE9923}" srcOrd="0" destOrd="0" presId="urn:microsoft.com/office/officeart/2005/8/layout/list1"/>
    <dgm:cxn modelId="{B8931869-9B40-4D9F-9090-42450972DDF7}" type="presOf" srcId="{1C51F9DA-BB1D-40F1-84D1-75BADC93E21C}" destId="{8DFBA549-8C35-46C3-A666-6E6079371A8A}" srcOrd="0" destOrd="0" presId="urn:microsoft.com/office/officeart/2005/8/layout/list1"/>
    <dgm:cxn modelId="{5FA3A26A-69B2-4079-B1EB-E284DBE82A8F}" srcId="{D7C215A8-1C25-4244-AACF-A93B936B6A4E}" destId="{2939EBE7-25BA-4A87-863A-995F3CF7400E}" srcOrd="2" destOrd="0" parTransId="{0C0D4F66-76C0-4864-BADA-155CCA48AC75}" sibTransId="{7DE72FD3-9D48-4E4F-B71B-2461785E9CC5}"/>
    <dgm:cxn modelId="{9ABF7A6C-47A7-4236-BECB-FDBBC81F2ACE}" type="presOf" srcId="{1C51F9DA-BB1D-40F1-84D1-75BADC93E21C}" destId="{F57447D1-1897-4085-BDE8-DAC7D8B668B1}" srcOrd="1" destOrd="0" presId="urn:microsoft.com/office/officeart/2005/8/layout/list1"/>
    <dgm:cxn modelId="{77E2E770-4D67-41D6-8EA4-B8F9E3640CC9}" srcId="{DDB57513-04F6-4F1A-ABE2-0A1F37354929}" destId="{EA13EA08-868A-44A1-8A43-2AEEC119F851}" srcOrd="2" destOrd="0" parTransId="{7DE5CA9B-3AEA-4CE2-8B5F-36ED03B7BF06}" sibTransId="{A7EE958E-EAB5-4EFA-846B-07061DBD76B5}"/>
    <dgm:cxn modelId="{F0E35056-8F4F-4C11-850E-AB14CAD7EC88}" type="presOf" srcId="{2939EBE7-25BA-4A87-863A-995F3CF7400E}" destId="{1558F93D-EAC0-45E5-899D-897DCBBBE5F5}" srcOrd="0" destOrd="2" presId="urn:microsoft.com/office/officeart/2005/8/layout/list1"/>
    <dgm:cxn modelId="{DC11FD56-19E5-4DC9-928D-AA1084A6FB3A}" type="presOf" srcId="{1BC843D5-E9D8-4BC6-8F6F-29DAFBFD30D9}" destId="{CBB4EC75-BD0F-493F-A627-EE4A6BEBBF5E}" srcOrd="1" destOrd="0" presId="urn:microsoft.com/office/officeart/2005/8/layout/list1"/>
    <dgm:cxn modelId="{AFD75B77-C85D-41EE-BB59-5E59B29A4DB5}" type="presOf" srcId="{D7C215A8-1C25-4244-AACF-A93B936B6A4E}" destId="{DB5D501B-7863-4067-BF7B-E143F3E177A1}" srcOrd="1" destOrd="0" presId="urn:microsoft.com/office/officeart/2005/8/layout/list1"/>
    <dgm:cxn modelId="{1C687D7D-EA68-4409-A0FE-BD7CB4E06B9A}" type="presOf" srcId="{9C88D7FB-EFF1-414F-870F-9B39293E882D}" destId="{DCF23690-240E-407E-BD7E-1FD215A7CC1B}" srcOrd="1" destOrd="0" presId="urn:microsoft.com/office/officeart/2005/8/layout/list1"/>
    <dgm:cxn modelId="{C6F50488-AC65-461B-B99D-6E4F2AF1FC86}" type="presOf" srcId="{AC284BBD-2904-4765-8056-D3C623BDC5D5}" destId="{FEE63156-4690-4300-91F4-83D74C6F301E}" srcOrd="1" destOrd="0" presId="urn:microsoft.com/office/officeart/2005/8/layout/list1"/>
    <dgm:cxn modelId="{EDC34D95-46FE-4CEE-BBD1-21E4E57B3C1A}" type="presOf" srcId="{D7C215A8-1C25-4244-AACF-A93B936B6A4E}" destId="{DC8D419D-A840-4FE1-80CE-DF5E014504C3}" srcOrd="0" destOrd="0" presId="urn:microsoft.com/office/officeart/2005/8/layout/list1"/>
    <dgm:cxn modelId="{0B212F96-AB0C-4186-8A43-12AD2129D071}" type="presOf" srcId="{C5FF947F-6CAF-485B-B531-83554A8AC4E4}" destId="{C898DB72-AD2F-4744-B002-3AF835CAC3A3}" srcOrd="0" destOrd="0" presId="urn:microsoft.com/office/officeart/2005/8/layout/list1"/>
    <dgm:cxn modelId="{A59BAF9E-4D12-4EA9-B365-A856AEBC93B9}" type="presOf" srcId="{EA13EA08-868A-44A1-8A43-2AEEC119F851}" destId="{A552B9E1-442B-404A-9359-2F517C123970}" srcOrd="0" destOrd="0" presId="urn:microsoft.com/office/officeart/2005/8/layout/list1"/>
    <dgm:cxn modelId="{46290B9F-5BC1-42AF-B8FF-8A5E29AEF93F}" srcId="{D7C215A8-1C25-4244-AACF-A93B936B6A4E}" destId="{E7E47B04-B843-459D-ADB2-035787B42174}" srcOrd="0" destOrd="0" parTransId="{4D226CE6-8C18-4C55-9454-D5A92530975F}" sibTransId="{5B53D0CF-2707-49B2-AD96-4597C0BCE8A4}"/>
    <dgm:cxn modelId="{C8C863A0-B5F3-419E-A5FC-7124A5714E12}" type="presOf" srcId="{AC284BBD-2904-4765-8056-D3C623BDC5D5}" destId="{E27A3A34-EF8A-4B57-841B-49355815893E}" srcOrd="0" destOrd="0" presId="urn:microsoft.com/office/officeart/2005/8/layout/list1"/>
    <dgm:cxn modelId="{1E21CBA8-43C1-46BD-8C39-51AAAF576879}" srcId="{DDB57513-04F6-4F1A-ABE2-0A1F37354929}" destId="{C5FF947F-6CAF-485B-B531-83554A8AC4E4}" srcOrd="4" destOrd="0" parTransId="{AAA2FAD6-DE34-43E5-B0C8-834B57BD7007}" sibTransId="{50AC75FA-12DD-435F-9F9A-298EAF03F264}"/>
    <dgm:cxn modelId="{6C5ECBAA-248F-45FF-93FF-09E8D36449AF}" type="presOf" srcId="{C5FF947F-6CAF-485B-B531-83554A8AC4E4}" destId="{0EB25B2A-5AC0-4A4E-8BCB-7CBDB516E254}" srcOrd="1" destOrd="0" presId="urn:microsoft.com/office/officeart/2005/8/layout/list1"/>
    <dgm:cxn modelId="{30D0DDC0-E6C9-4A7C-91BB-96D3C4136850}" type="presOf" srcId="{EA13EA08-868A-44A1-8A43-2AEEC119F851}" destId="{A2F4900F-E643-4AE3-8971-FC7E549D6017}" srcOrd="1" destOrd="0" presId="urn:microsoft.com/office/officeart/2005/8/layout/list1"/>
    <dgm:cxn modelId="{3F01D8C5-029B-4FD1-8DA3-FEEA70F56EEB}" type="presOf" srcId="{9C88D7FB-EFF1-414F-870F-9B39293E882D}" destId="{E97B99BF-73A1-46CE-8858-A59D69615EBC}" srcOrd="0" destOrd="0" presId="urn:microsoft.com/office/officeart/2005/8/layout/list1"/>
    <dgm:cxn modelId="{7F64D9C6-2988-48FF-B60F-0E6DA979A1D9}" srcId="{DDB57513-04F6-4F1A-ABE2-0A1F37354929}" destId="{9BE46F08-ACB4-4DC3-8CAF-732538A5D0AA}" srcOrd="7" destOrd="0" parTransId="{E09AA504-A17F-41A7-A461-D3E185FFFBDE}" sibTransId="{25A642BE-63A3-4CB1-9568-74FA46BE0D56}"/>
    <dgm:cxn modelId="{8D3C3BC9-68E8-407C-8D3F-0EB1D0832993}" type="presOf" srcId="{E7E47B04-B843-459D-ADB2-035787B42174}" destId="{1558F93D-EAC0-45E5-899D-897DCBBBE5F5}" srcOrd="0" destOrd="0" presId="urn:microsoft.com/office/officeart/2005/8/layout/list1"/>
    <dgm:cxn modelId="{52B9CDD7-BB94-4ED1-82AB-9CB992E28FA0}" type="presOf" srcId="{E2E983D7-A2D6-47E4-8EF4-8000B7FFB366}" destId="{A815276E-17A1-4CA9-8499-781AF0F10BC5}" srcOrd="0" destOrd="0" presId="urn:microsoft.com/office/officeart/2005/8/layout/list1"/>
    <dgm:cxn modelId="{FD30F0EB-2427-423F-8CB6-B1FA4CCB34C1}" srcId="{DDB57513-04F6-4F1A-ABE2-0A1F37354929}" destId="{1C51F9DA-BB1D-40F1-84D1-75BADC93E21C}" srcOrd="8" destOrd="0" parTransId="{627A1FC0-F993-4C4E-B5CB-EC6FD6EC7810}" sibTransId="{9A335D84-A7C7-4758-BF7D-806D43D2B191}"/>
    <dgm:cxn modelId="{70F717EE-B426-4658-8FAB-9AE5EBE9BA94}" type="presOf" srcId="{0AB3749D-C2D9-4B86-A0E7-3AC157FF4B2E}" destId="{1558F93D-EAC0-45E5-899D-897DCBBBE5F5}" srcOrd="0" destOrd="3" presId="urn:microsoft.com/office/officeart/2005/8/layout/list1"/>
    <dgm:cxn modelId="{A0738FF1-B38B-4934-B390-C1362BEA2631}" type="presOf" srcId="{1BC843D5-E9D8-4BC6-8F6F-29DAFBFD30D9}" destId="{AA35CD20-AD05-4A57-92FD-CB7D3AE40FB8}" srcOrd="0" destOrd="0" presId="urn:microsoft.com/office/officeart/2005/8/layout/list1"/>
    <dgm:cxn modelId="{C4F452F6-BF0C-4A89-A289-683E9E38AC86}" type="presOf" srcId="{9BE46F08-ACB4-4DC3-8CAF-732538A5D0AA}" destId="{56B296F4-A7A1-446E-830D-AC3D426F4476}" srcOrd="0" destOrd="0" presId="urn:microsoft.com/office/officeart/2005/8/layout/list1"/>
    <dgm:cxn modelId="{E90943F8-0650-4C5B-B4E7-BE66D1DEF96C}" type="presOf" srcId="{9BE46F08-ACB4-4DC3-8CAF-732538A5D0AA}" destId="{79EE5CEE-A74C-4C30-B551-5B7DB0791E8B}" srcOrd="1" destOrd="0" presId="urn:microsoft.com/office/officeart/2005/8/layout/list1"/>
    <dgm:cxn modelId="{FB732DFE-7B03-4F9B-9F55-6429D4B29BA2}" srcId="{DDB57513-04F6-4F1A-ABE2-0A1F37354929}" destId="{1BC843D5-E9D8-4BC6-8F6F-29DAFBFD30D9}" srcOrd="3" destOrd="0" parTransId="{FA578061-1EF9-45DF-96FC-F6807590ADF6}" sibTransId="{121E9B33-9A60-4021-96DF-070AE68D6B84}"/>
    <dgm:cxn modelId="{F3B062FE-B227-494D-BD0A-B10EE70A3AEF}" type="presParOf" srcId="{1E4DAED0-E3BC-43B3-A554-A0BA39BE9923}" destId="{503D1CCC-39A9-4EBD-B901-32779A004DB8}" srcOrd="0" destOrd="0" presId="urn:microsoft.com/office/officeart/2005/8/layout/list1"/>
    <dgm:cxn modelId="{FB51DBEE-1D44-413B-A4CF-E3D60B8E64FD}" type="presParOf" srcId="{503D1CCC-39A9-4EBD-B901-32779A004DB8}" destId="{E97B99BF-73A1-46CE-8858-A59D69615EBC}" srcOrd="0" destOrd="0" presId="urn:microsoft.com/office/officeart/2005/8/layout/list1"/>
    <dgm:cxn modelId="{D9403497-59A1-41AD-A8FC-CB03637C11EA}" type="presParOf" srcId="{503D1CCC-39A9-4EBD-B901-32779A004DB8}" destId="{DCF23690-240E-407E-BD7E-1FD215A7CC1B}" srcOrd="1" destOrd="0" presId="urn:microsoft.com/office/officeart/2005/8/layout/list1"/>
    <dgm:cxn modelId="{D42E86A0-F28A-446B-AD77-FEC7FB47F473}" type="presParOf" srcId="{1E4DAED0-E3BC-43B3-A554-A0BA39BE9923}" destId="{F4A91677-C866-4CD0-8211-413259284685}" srcOrd="1" destOrd="0" presId="urn:microsoft.com/office/officeart/2005/8/layout/list1"/>
    <dgm:cxn modelId="{31817704-F418-41D2-80E7-E69830250C78}" type="presParOf" srcId="{1E4DAED0-E3BC-43B3-A554-A0BA39BE9923}" destId="{FA88814B-CC06-4B9C-9D5C-96649990F928}" srcOrd="2" destOrd="0" presId="urn:microsoft.com/office/officeart/2005/8/layout/list1"/>
    <dgm:cxn modelId="{4D8DF113-BC35-4DE4-A9A7-7F4EF9F954C1}" type="presParOf" srcId="{1E4DAED0-E3BC-43B3-A554-A0BA39BE9923}" destId="{FBE41462-C2E6-4D25-948A-834DF6715AF8}" srcOrd="3" destOrd="0" presId="urn:microsoft.com/office/officeart/2005/8/layout/list1"/>
    <dgm:cxn modelId="{47649D7C-840E-4905-8804-8F0F1C3BCF3D}" type="presParOf" srcId="{1E4DAED0-E3BC-43B3-A554-A0BA39BE9923}" destId="{393CF1DF-442A-4C29-A327-048AC3F91241}" srcOrd="4" destOrd="0" presId="urn:microsoft.com/office/officeart/2005/8/layout/list1"/>
    <dgm:cxn modelId="{7CB8A204-0E35-4215-BBBD-981536BC9BBF}" type="presParOf" srcId="{393CF1DF-442A-4C29-A327-048AC3F91241}" destId="{A815276E-17A1-4CA9-8499-781AF0F10BC5}" srcOrd="0" destOrd="0" presId="urn:microsoft.com/office/officeart/2005/8/layout/list1"/>
    <dgm:cxn modelId="{64E1A3D3-DD99-4588-9820-0898188F8B19}" type="presParOf" srcId="{393CF1DF-442A-4C29-A327-048AC3F91241}" destId="{E238EC23-42A6-4858-AF98-0F9194799340}" srcOrd="1" destOrd="0" presId="urn:microsoft.com/office/officeart/2005/8/layout/list1"/>
    <dgm:cxn modelId="{2A85A1BC-4CC6-4F9E-AA8D-06C3F7F5B927}" type="presParOf" srcId="{1E4DAED0-E3BC-43B3-A554-A0BA39BE9923}" destId="{E8178C36-5559-43F8-AC59-3D606286B08D}" srcOrd="5" destOrd="0" presId="urn:microsoft.com/office/officeart/2005/8/layout/list1"/>
    <dgm:cxn modelId="{A3AA0E8A-3FA8-4595-BB82-D24E796C2734}" type="presParOf" srcId="{1E4DAED0-E3BC-43B3-A554-A0BA39BE9923}" destId="{22AB171B-FA7F-4AEA-BA08-B36C3B3A5A99}" srcOrd="6" destOrd="0" presId="urn:microsoft.com/office/officeart/2005/8/layout/list1"/>
    <dgm:cxn modelId="{AB90703E-FDDF-408F-920A-69A2DAD75D3B}" type="presParOf" srcId="{1E4DAED0-E3BC-43B3-A554-A0BA39BE9923}" destId="{02215150-B997-4166-9E44-339EC6D72A7F}" srcOrd="7" destOrd="0" presId="urn:microsoft.com/office/officeart/2005/8/layout/list1"/>
    <dgm:cxn modelId="{7A8D63A8-FF2D-4E85-8491-C692DB3102AA}" type="presParOf" srcId="{1E4DAED0-E3BC-43B3-A554-A0BA39BE9923}" destId="{B60BA870-179C-4871-AF4D-4E6D7D3FFB18}" srcOrd="8" destOrd="0" presId="urn:microsoft.com/office/officeart/2005/8/layout/list1"/>
    <dgm:cxn modelId="{CDB2F386-73CA-4373-B996-635EB79B4378}" type="presParOf" srcId="{B60BA870-179C-4871-AF4D-4E6D7D3FFB18}" destId="{A552B9E1-442B-404A-9359-2F517C123970}" srcOrd="0" destOrd="0" presId="urn:microsoft.com/office/officeart/2005/8/layout/list1"/>
    <dgm:cxn modelId="{560622B3-40A8-4014-9301-97AE44F7D476}" type="presParOf" srcId="{B60BA870-179C-4871-AF4D-4E6D7D3FFB18}" destId="{A2F4900F-E643-4AE3-8971-FC7E549D6017}" srcOrd="1" destOrd="0" presId="urn:microsoft.com/office/officeart/2005/8/layout/list1"/>
    <dgm:cxn modelId="{BEB20FBB-511C-48E4-98A5-C95DA5A0D3DC}" type="presParOf" srcId="{1E4DAED0-E3BC-43B3-A554-A0BA39BE9923}" destId="{E9C76A64-E0E7-4455-A0C7-9ACA21B346A9}" srcOrd="9" destOrd="0" presId="urn:microsoft.com/office/officeart/2005/8/layout/list1"/>
    <dgm:cxn modelId="{C955315A-C43F-4AF9-A416-CBD477F38513}" type="presParOf" srcId="{1E4DAED0-E3BC-43B3-A554-A0BA39BE9923}" destId="{030ABBF2-F3D3-4F9F-991F-7A17DB659FA0}" srcOrd="10" destOrd="0" presId="urn:microsoft.com/office/officeart/2005/8/layout/list1"/>
    <dgm:cxn modelId="{0CE407EF-1B81-4F73-B687-7A32A77F4221}" type="presParOf" srcId="{1E4DAED0-E3BC-43B3-A554-A0BA39BE9923}" destId="{1FC59B4F-080E-485C-83DB-4AD29C2FE342}" srcOrd="11" destOrd="0" presId="urn:microsoft.com/office/officeart/2005/8/layout/list1"/>
    <dgm:cxn modelId="{3CF76240-9A23-4DCE-BCB4-5F69BF20614A}" type="presParOf" srcId="{1E4DAED0-E3BC-43B3-A554-A0BA39BE9923}" destId="{442268AF-BE90-456B-85A1-8697F21174E2}" srcOrd="12" destOrd="0" presId="urn:microsoft.com/office/officeart/2005/8/layout/list1"/>
    <dgm:cxn modelId="{C9C969F5-7D18-40CC-B839-647732E4C8EA}" type="presParOf" srcId="{442268AF-BE90-456B-85A1-8697F21174E2}" destId="{AA35CD20-AD05-4A57-92FD-CB7D3AE40FB8}" srcOrd="0" destOrd="0" presId="urn:microsoft.com/office/officeart/2005/8/layout/list1"/>
    <dgm:cxn modelId="{EBEE0405-0E49-4A4F-B4D8-7A4D4EE05451}" type="presParOf" srcId="{442268AF-BE90-456B-85A1-8697F21174E2}" destId="{CBB4EC75-BD0F-493F-A627-EE4A6BEBBF5E}" srcOrd="1" destOrd="0" presId="urn:microsoft.com/office/officeart/2005/8/layout/list1"/>
    <dgm:cxn modelId="{FD49C087-6DD1-4D69-8AF9-316A659C82A1}" type="presParOf" srcId="{1E4DAED0-E3BC-43B3-A554-A0BA39BE9923}" destId="{E5340616-43B7-4E1B-923A-EFB3D3490AEB}" srcOrd="13" destOrd="0" presId="urn:microsoft.com/office/officeart/2005/8/layout/list1"/>
    <dgm:cxn modelId="{B75F7345-720A-479E-AD58-67C0BDF671C9}" type="presParOf" srcId="{1E4DAED0-E3BC-43B3-A554-A0BA39BE9923}" destId="{51B02118-FB98-4C53-AEE4-EE560801FFA3}" srcOrd="14" destOrd="0" presId="urn:microsoft.com/office/officeart/2005/8/layout/list1"/>
    <dgm:cxn modelId="{E651AC70-1C28-4521-A072-D7D8D24E4DB2}" type="presParOf" srcId="{1E4DAED0-E3BC-43B3-A554-A0BA39BE9923}" destId="{ABC6AA7F-93B7-477E-AE42-4A2E3B82B1F5}" srcOrd="15" destOrd="0" presId="urn:microsoft.com/office/officeart/2005/8/layout/list1"/>
    <dgm:cxn modelId="{19CEAE96-C2AE-4B03-ADAA-DB749E1A052D}" type="presParOf" srcId="{1E4DAED0-E3BC-43B3-A554-A0BA39BE9923}" destId="{B711645D-438C-403B-9B0F-718776895CDC}" srcOrd="16" destOrd="0" presId="urn:microsoft.com/office/officeart/2005/8/layout/list1"/>
    <dgm:cxn modelId="{61631E80-4508-4650-B777-2F4F96EB9047}" type="presParOf" srcId="{B711645D-438C-403B-9B0F-718776895CDC}" destId="{C898DB72-AD2F-4744-B002-3AF835CAC3A3}" srcOrd="0" destOrd="0" presId="urn:microsoft.com/office/officeart/2005/8/layout/list1"/>
    <dgm:cxn modelId="{7FF338D4-9CBE-4F55-B589-0B214FDC82F6}" type="presParOf" srcId="{B711645D-438C-403B-9B0F-718776895CDC}" destId="{0EB25B2A-5AC0-4A4E-8BCB-7CBDB516E254}" srcOrd="1" destOrd="0" presId="urn:microsoft.com/office/officeart/2005/8/layout/list1"/>
    <dgm:cxn modelId="{0E8F19CB-51DF-4584-B3BA-732024B7B5BF}" type="presParOf" srcId="{1E4DAED0-E3BC-43B3-A554-A0BA39BE9923}" destId="{0C410768-8703-4A74-AAC7-35DE8CDB03FE}" srcOrd="17" destOrd="0" presId="urn:microsoft.com/office/officeart/2005/8/layout/list1"/>
    <dgm:cxn modelId="{81C44A1E-B476-4193-90FA-38C7837A85A5}" type="presParOf" srcId="{1E4DAED0-E3BC-43B3-A554-A0BA39BE9923}" destId="{AF97554B-ED68-457E-B5B2-BA201597C596}" srcOrd="18" destOrd="0" presId="urn:microsoft.com/office/officeart/2005/8/layout/list1"/>
    <dgm:cxn modelId="{0E27536F-B633-4912-9668-740B87E1C856}" type="presParOf" srcId="{1E4DAED0-E3BC-43B3-A554-A0BA39BE9923}" destId="{A09DFFFD-1BBF-45F5-9060-A3DD961EE8D0}" srcOrd="19" destOrd="0" presId="urn:microsoft.com/office/officeart/2005/8/layout/list1"/>
    <dgm:cxn modelId="{AEC1F95D-3A11-49F6-AAC5-27772730894F}" type="presParOf" srcId="{1E4DAED0-E3BC-43B3-A554-A0BA39BE9923}" destId="{9731F734-4F79-4EB8-921B-D91BCDD6350D}" srcOrd="20" destOrd="0" presId="urn:microsoft.com/office/officeart/2005/8/layout/list1"/>
    <dgm:cxn modelId="{556B1546-2843-40C4-80B9-F0252F5A2BF4}" type="presParOf" srcId="{9731F734-4F79-4EB8-921B-D91BCDD6350D}" destId="{DC8D419D-A840-4FE1-80CE-DF5E014504C3}" srcOrd="0" destOrd="0" presId="urn:microsoft.com/office/officeart/2005/8/layout/list1"/>
    <dgm:cxn modelId="{09FA5A8B-B6B5-4719-9430-312239527740}" type="presParOf" srcId="{9731F734-4F79-4EB8-921B-D91BCDD6350D}" destId="{DB5D501B-7863-4067-BF7B-E143F3E177A1}" srcOrd="1" destOrd="0" presId="urn:microsoft.com/office/officeart/2005/8/layout/list1"/>
    <dgm:cxn modelId="{2259237B-922F-4A8A-B981-07C752ABE879}" type="presParOf" srcId="{1E4DAED0-E3BC-43B3-A554-A0BA39BE9923}" destId="{3F06B2C8-A190-41E6-98E3-F7C1C547E50D}" srcOrd="21" destOrd="0" presId="urn:microsoft.com/office/officeart/2005/8/layout/list1"/>
    <dgm:cxn modelId="{77C49554-0302-461F-81F9-5DA364C70261}" type="presParOf" srcId="{1E4DAED0-E3BC-43B3-A554-A0BA39BE9923}" destId="{1558F93D-EAC0-45E5-899D-897DCBBBE5F5}" srcOrd="22" destOrd="0" presId="urn:microsoft.com/office/officeart/2005/8/layout/list1"/>
    <dgm:cxn modelId="{CA9A346A-4795-42E8-9ADE-E5779A0246C1}" type="presParOf" srcId="{1E4DAED0-E3BC-43B3-A554-A0BA39BE9923}" destId="{9E383E22-D549-42DF-BD6F-F4971A1E7139}" srcOrd="23" destOrd="0" presId="urn:microsoft.com/office/officeart/2005/8/layout/list1"/>
    <dgm:cxn modelId="{BC576B2A-86AF-4195-BD0C-22CEE8E3E6DF}" type="presParOf" srcId="{1E4DAED0-E3BC-43B3-A554-A0BA39BE9923}" destId="{DF84FAC1-3CA1-40DB-911B-137584414739}" srcOrd="24" destOrd="0" presId="urn:microsoft.com/office/officeart/2005/8/layout/list1"/>
    <dgm:cxn modelId="{C9230E0E-9C79-4694-B21A-B7AE654E5104}" type="presParOf" srcId="{DF84FAC1-3CA1-40DB-911B-137584414739}" destId="{E27A3A34-EF8A-4B57-841B-49355815893E}" srcOrd="0" destOrd="0" presId="urn:microsoft.com/office/officeart/2005/8/layout/list1"/>
    <dgm:cxn modelId="{78E6D700-C4C0-4FDC-9034-7F2ADB872DA8}" type="presParOf" srcId="{DF84FAC1-3CA1-40DB-911B-137584414739}" destId="{FEE63156-4690-4300-91F4-83D74C6F301E}" srcOrd="1" destOrd="0" presId="urn:microsoft.com/office/officeart/2005/8/layout/list1"/>
    <dgm:cxn modelId="{5DCCC15C-06F1-4898-A135-C1FAA3C854D3}" type="presParOf" srcId="{1E4DAED0-E3BC-43B3-A554-A0BA39BE9923}" destId="{8B64F7FF-7AB7-4BA2-8874-05578D7F8E6B}" srcOrd="25" destOrd="0" presId="urn:microsoft.com/office/officeart/2005/8/layout/list1"/>
    <dgm:cxn modelId="{CF798DAE-C443-4F75-8C98-468ED7EACDE5}" type="presParOf" srcId="{1E4DAED0-E3BC-43B3-A554-A0BA39BE9923}" destId="{72993205-945B-4DF1-93F3-5DDDBB506078}" srcOrd="26" destOrd="0" presId="urn:microsoft.com/office/officeart/2005/8/layout/list1"/>
    <dgm:cxn modelId="{D6AEABF8-E214-467C-A3B6-0B104416EF0D}" type="presParOf" srcId="{1E4DAED0-E3BC-43B3-A554-A0BA39BE9923}" destId="{005263B1-A55D-40A9-AC77-B6C2E693326A}" srcOrd="27" destOrd="0" presId="urn:microsoft.com/office/officeart/2005/8/layout/list1"/>
    <dgm:cxn modelId="{B8E8CC3A-0A05-4607-930A-E6EA0FA209C5}" type="presParOf" srcId="{1E4DAED0-E3BC-43B3-A554-A0BA39BE9923}" destId="{75212553-E4F2-46BC-BCC1-03C7E990A875}" srcOrd="28" destOrd="0" presId="urn:microsoft.com/office/officeart/2005/8/layout/list1"/>
    <dgm:cxn modelId="{B035563F-9D92-48E8-89FF-6FC5B6487536}" type="presParOf" srcId="{75212553-E4F2-46BC-BCC1-03C7E990A875}" destId="{56B296F4-A7A1-446E-830D-AC3D426F4476}" srcOrd="0" destOrd="0" presId="urn:microsoft.com/office/officeart/2005/8/layout/list1"/>
    <dgm:cxn modelId="{159D86D4-7A77-4382-8748-3977553D24AA}" type="presParOf" srcId="{75212553-E4F2-46BC-BCC1-03C7E990A875}" destId="{79EE5CEE-A74C-4C30-B551-5B7DB0791E8B}" srcOrd="1" destOrd="0" presId="urn:microsoft.com/office/officeart/2005/8/layout/list1"/>
    <dgm:cxn modelId="{6520D7AE-8621-4BB8-9266-D6E535825661}" type="presParOf" srcId="{1E4DAED0-E3BC-43B3-A554-A0BA39BE9923}" destId="{C112EB8B-261C-46DD-B6AD-F5AC6DBDE8C1}" srcOrd="29" destOrd="0" presId="urn:microsoft.com/office/officeart/2005/8/layout/list1"/>
    <dgm:cxn modelId="{2104D459-CDDD-4A06-A9E1-61809D28F8FC}" type="presParOf" srcId="{1E4DAED0-E3BC-43B3-A554-A0BA39BE9923}" destId="{2BE71024-C392-4498-AE92-ACF9324C779A}" srcOrd="30" destOrd="0" presId="urn:microsoft.com/office/officeart/2005/8/layout/list1"/>
    <dgm:cxn modelId="{00A97505-03EB-4FAD-866F-112AF178BC3B}" type="presParOf" srcId="{1E4DAED0-E3BC-43B3-A554-A0BA39BE9923}" destId="{A14CD738-1BA3-4401-A4B1-A7808C7BB31D}" srcOrd="31" destOrd="0" presId="urn:microsoft.com/office/officeart/2005/8/layout/list1"/>
    <dgm:cxn modelId="{BBB5668F-D469-4FFA-944A-7399605D0ED3}" type="presParOf" srcId="{1E4DAED0-E3BC-43B3-A554-A0BA39BE9923}" destId="{13D2237D-F22C-4F7A-BDF8-B0407B23D345}" srcOrd="32" destOrd="0" presId="urn:microsoft.com/office/officeart/2005/8/layout/list1"/>
    <dgm:cxn modelId="{1C6FF829-3C1C-4ECC-B047-9D591F06DC33}" type="presParOf" srcId="{13D2237D-F22C-4F7A-BDF8-B0407B23D345}" destId="{8DFBA549-8C35-46C3-A666-6E6079371A8A}" srcOrd="0" destOrd="0" presId="urn:microsoft.com/office/officeart/2005/8/layout/list1"/>
    <dgm:cxn modelId="{7F5A22B7-CB34-4C14-8E96-3BCA1A274446}" type="presParOf" srcId="{13D2237D-F22C-4F7A-BDF8-B0407B23D345}" destId="{F57447D1-1897-4085-BDE8-DAC7D8B668B1}" srcOrd="1" destOrd="0" presId="urn:microsoft.com/office/officeart/2005/8/layout/list1"/>
    <dgm:cxn modelId="{E8D04513-46C1-4977-964C-BB70DC588FA7}" type="presParOf" srcId="{1E4DAED0-E3BC-43B3-A554-A0BA39BE9923}" destId="{5785E6C7-DDCD-402C-A072-875163872A5F}" srcOrd="33" destOrd="0" presId="urn:microsoft.com/office/officeart/2005/8/layout/list1"/>
    <dgm:cxn modelId="{CCBCBB1C-10C9-4FCB-BF0C-4CED723DA631}" type="presParOf" srcId="{1E4DAED0-E3BC-43B3-A554-A0BA39BE9923}" destId="{ED70CDF2-CA0F-43C5-BDB0-037A374F8023}" srcOrd="3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88B39D1-11D6-4E33-B381-A41D70DAE58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CA"/>
        </a:p>
      </dgm:t>
    </dgm:pt>
    <dgm:pt modelId="{1D2201FA-BB4F-4AB9-91D8-359B35CA3C2F}">
      <dgm:prSet phldrT="[Text]" custT="1"/>
      <dgm:spPr>
        <a:solidFill>
          <a:schemeClr val="tx2">
            <a:lumMod val="10000"/>
            <a:lumOff val="90000"/>
          </a:schemeClr>
        </a:solidFill>
        <a:ln>
          <a:noFill/>
        </a:ln>
      </dgm:spPr>
      <dgm:t>
        <a:bodyPr/>
        <a:lstStyle/>
        <a:p>
          <a:r>
            <a:rPr lang="en-US" sz="1100" dirty="0">
              <a:solidFill>
                <a:schemeClr val="tx1"/>
              </a:solidFill>
              <a:latin typeface="Calibri" panose="020F0502020204030204" pitchFamily="34" charset="0"/>
              <a:cs typeface="Calibri" panose="020F0502020204030204" pitchFamily="34" charset="0"/>
            </a:rPr>
            <a:t>Upcoming Accelerators</a:t>
          </a:r>
          <a:endParaRPr lang="en-CA" sz="1100" dirty="0">
            <a:solidFill>
              <a:schemeClr val="tx1"/>
            </a:solidFill>
            <a:latin typeface="Calibri" panose="020F0502020204030204" pitchFamily="34" charset="0"/>
            <a:cs typeface="Calibri" panose="020F0502020204030204" pitchFamily="34" charset="0"/>
          </a:endParaRPr>
        </a:p>
      </dgm:t>
    </dgm:pt>
    <dgm:pt modelId="{CAF589FF-D6EB-4BBE-88D8-C0184752EA08}" type="parTrans" cxnId="{821BD106-DF35-496F-B556-8E0E6381D589}">
      <dgm:prSet/>
      <dgm:spPr/>
      <dgm:t>
        <a:bodyPr/>
        <a:lstStyle/>
        <a:p>
          <a:endParaRPr lang="en-CA"/>
        </a:p>
      </dgm:t>
    </dgm:pt>
    <dgm:pt modelId="{637D1873-01CC-43D8-B160-FC3AA034276C}" type="sibTrans" cxnId="{821BD106-DF35-496F-B556-8E0E6381D589}">
      <dgm:prSet/>
      <dgm:spPr/>
      <dgm:t>
        <a:bodyPr/>
        <a:lstStyle/>
        <a:p>
          <a:endParaRPr lang="en-CA"/>
        </a:p>
      </dgm:t>
    </dgm:pt>
    <dgm:pt modelId="{BD1C3E0E-76A2-44B9-BD9C-730FE09181FD}">
      <dgm:prSet phldrT="[Text]" custT="1"/>
      <dgm:spPr>
        <a:solidFill>
          <a:srgbClr val="3366CC"/>
        </a:solidFill>
      </dgm:spPr>
      <dgm:t>
        <a:bodyPr/>
        <a:lstStyle/>
        <a:p>
          <a:r>
            <a:rPr lang="en-US" sz="1100" dirty="0">
              <a:latin typeface="Calibri" panose="020F0502020204030204" pitchFamily="34" charset="0"/>
              <a:cs typeface="Calibri" panose="020F0502020204030204" pitchFamily="34" charset="0"/>
            </a:rPr>
            <a:t>Revenue Planning</a:t>
          </a:r>
          <a:endParaRPr lang="en-CA" sz="1100" dirty="0">
            <a:latin typeface="Calibri" panose="020F0502020204030204" pitchFamily="34" charset="0"/>
            <a:cs typeface="Calibri" panose="020F0502020204030204" pitchFamily="34" charset="0"/>
          </a:endParaRPr>
        </a:p>
      </dgm:t>
    </dgm:pt>
    <dgm:pt modelId="{F8B7F841-3F70-42CE-BEA0-201C6DCBCD73}" type="parTrans" cxnId="{9D22549D-E416-4857-90B6-CFE3FDC7895A}">
      <dgm:prSet>
        <dgm:style>
          <a:lnRef idx="1">
            <a:schemeClr val="dk1"/>
          </a:lnRef>
          <a:fillRef idx="0">
            <a:schemeClr val="dk1"/>
          </a:fillRef>
          <a:effectRef idx="0">
            <a:schemeClr val="dk1"/>
          </a:effectRef>
          <a:fontRef idx="minor">
            <a:schemeClr val="tx1"/>
          </a:fontRef>
        </dgm:style>
      </dgm:prSet>
      <dgm:spPr/>
      <dgm:t>
        <a:bodyPr/>
        <a:lstStyle/>
        <a:p>
          <a:endParaRPr lang="en-CA"/>
        </a:p>
      </dgm:t>
    </dgm:pt>
    <dgm:pt modelId="{71853357-2731-4BBA-8410-A3F77644A48E}" type="sibTrans" cxnId="{9D22549D-E416-4857-90B6-CFE3FDC7895A}">
      <dgm:prSet/>
      <dgm:spPr/>
      <dgm:t>
        <a:bodyPr/>
        <a:lstStyle/>
        <a:p>
          <a:endParaRPr lang="en-CA"/>
        </a:p>
      </dgm:t>
    </dgm:pt>
    <dgm:pt modelId="{E5296007-0B0A-4272-8F30-367FF4EB0ED3}">
      <dgm:prSet phldrT="[Text]" custT="1"/>
      <dgm:spPr>
        <a:solidFill>
          <a:srgbClr val="3366CC"/>
        </a:solidFill>
      </dgm:spPr>
      <dgm:t>
        <a:bodyPr/>
        <a:lstStyle/>
        <a:p>
          <a:r>
            <a:rPr lang="en-US" sz="1100" dirty="0">
              <a:latin typeface="Calibri" panose="020F0502020204030204" pitchFamily="34" charset="0"/>
              <a:cs typeface="Calibri" panose="020F0502020204030204" pitchFamily="34" charset="0"/>
            </a:rPr>
            <a:t>Strategic Workforce Planning</a:t>
          </a:r>
          <a:endParaRPr lang="en-CA" sz="1100" dirty="0">
            <a:latin typeface="Calibri" panose="020F0502020204030204" pitchFamily="34" charset="0"/>
            <a:cs typeface="Calibri" panose="020F0502020204030204" pitchFamily="34" charset="0"/>
          </a:endParaRPr>
        </a:p>
      </dgm:t>
    </dgm:pt>
    <dgm:pt modelId="{E139FD55-2198-4819-987E-0F140B0B6CF9}" type="parTrans" cxnId="{A3D415FC-D6B7-4546-95A5-9BD799CB94B7}">
      <dgm:prSet>
        <dgm:style>
          <a:lnRef idx="1">
            <a:schemeClr val="dk1"/>
          </a:lnRef>
          <a:fillRef idx="0">
            <a:schemeClr val="dk1"/>
          </a:fillRef>
          <a:effectRef idx="0">
            <a:schemeClr val="dk1"/>
          </a:effectRef>
          <a:fontRef idx="minor">
            <a:schemeClr val="tx1"/>
          </a:fontRef>
        </dgm:style>
      </dgm:prSet>
      <dgm:spPr/>
      <dgm:t>
        <a:bodyPr/>
        <a:lstStyle/>
        <a:p>
          <a:endParaRPr lang="en-CA"/>
        </a:p>
      </dgm:t>
    </dgm:pt>
    <dgm:pt modelId="{3AE2ACDB-25F7-4279-9DBB-B462DD76D989}" type="sibTrans" cxnId="{A3D415FC-D6B7-4546-95A5-9BD799CB94B7}">
      <dgm:prSet/>
      <dgm:spPr/>
      <dgm:t>
        <a:bodyPr/>
        <a:lstStyle/>
        <a:p>
          <a:endParaRPr lang="en-CA"/>
        </a:p>
      </dgm:t>
    </dgm:pt>
    <dgm:pt modelId="{3C3F0F39-031A-4254-90A7-32A83F57ABCC}">
      <dgm:prSet phldrT="[Text]" custT="1"/>
      <dgm:spPr>
        <a:solidFill>
          <a:srgbClr val="3366CC"/>
        </a:solidFill>
      </dgm:spPr>
      <dgm:t>
        <a:bodyPr/>
        <a:lstStyle/>
        <a:p>
          <a:r>
            <a:rPr lang="en-US" sz="1100" dirty="0">
              <a:latin typeface="Calibri" panose="020F0502020204030204" pitchFamily="34" charset="0"/>
              <a:cs typeface="Calibri" panose="020F0502020204030204" pitchFamily="34" charset="0"/>
            </a:rPr>
            <a:t>Travel &amp; Event Planning</a:t>
          </a:r>
          <a:endParaRPr lang="en-CA" sz="1100" dirty="0">
            <a:latin typeface="Calibri" panose="020F0502020204030204" pitchFamily="34" charset="0"/>
            <a:cs typeface="Calibri" panose="020F0502020204030204" pitchFamily="34" charset="0"/>
          </a:endParaRPr>
        </a:p>
      </dgm:t>
    </dgm:pt>
    <dgm:pt modelId="{19D5DFAB-5E8D-4750-B3E7-B1BD342A3031}" type="parTrans" cxnId="{154E5BB3-C1B4-47A3-BE0C-4FD130FD2B47}">
      <dgm:prSet>
        <dgm:style>
          <a:lnRef idx="1">
            <a:schemeClr val="dk1"/>
          </a:lnRef>
          <a:fillRef idx="0">
            <a:schemeClr val="dk1"/>
          </a:fillRef>
          <a:effectRef idx="0">
            <a:schemeClr val="dk1"/>
          </a:effectRef>
          <a:fontRef idx="minor">
            <a:schemeClr val="tx1"/>
          </a:fontRef>
        </dgm:style>
      </dgm:prSet>
      <dgm:spPr/>
      <dgm:t>
        <a:bodyPr/>
        <a:lstStyle/>
        <a:p>
          <a:endParaRPr lang="en-CA"/>
        </a:p>
      </dgm:t>
    </dgm:pt>
    <dgm:pt modelId="{2E311B99-7535-4291-A7C2-357E76DF4203}" type="sibTrans" cxnId="{154E5BB3-C1B4-47A3-BE0C-4FD130FD2B47}">
      <dgm:prSet/>
      <dgm:spPr/>
      <dgm:t>
        <a:bodyPr/>
        <a:lstStyle/>
        <a:p>
          <a:endParaRPr lang="en-CA"/>
        </a:p>
      </dgm:t>
    </dgm:pt>
    <dgm:pt modelId="{39351F80-07F7-43EF-A566-3F375B1E476B}">
      <dgm:prSet phldrT="[Text]" custT="1"/>
      <dgm:spPr>
        <a:solidFill>
          <a:srgbClr val="3366CC"/>
        </a:solidFill>
      </dgm:spPr>
      <dgm:t>
        <a:bodyPr/>
        <a:lstStyle/>
        <a:p>
          <a:r>
            <a:rPr lang="en-US" sz="1100" dirty="0">
              <a:latin typeface="Calibri" panose="020F0502020204030204" pitchFamily="34" charset="0"/>
              <a:cs typeface="Calibri" panose="020F0502020204030204" pitchFamily="34" charset="0"/>
            </a:rPr>
            <a:t>Procurement Planning</a:t>
          </a:r>
          <a:endParaRPr lang="en-CA" sz="1100" dirty="0">
            <a:latin typeface="Calibri" panose="020F0502020204030204" pitchFamily="34" charset="0"/>
            <a:cs typeface="Calibri" panose="020F0502020204030204" pitchFamily="34" charset="0"/>
          </a:endParaRPr>
        </a:p>
      </dgm:t>
    </dgm:pt>
    <dgm:pt modelId="{FBD49FFE-A93F-44D1-BF0A-D6285EEC9207}" type="parTrans" cxnId="{089521AA-8793-4C68-A846-EFD3E9EE7550}">
      <dgm:prSet>
        <dgm:style>
          <a:lnRef idx="1">
            <a:schemeClr val="dk1"/>
          </a:lnRef>
          <a:fillRef idx="0">
            <a:schemeClr val="dk1"/>
          </a:fillRef>
          <a:effectRef idx="0">
            <a:schemeClr val="dk1"/>
          </a:effectRef>
          <a:fontRef idx="minor">
            <a:schemeClr val="tx1"/>
          </a:fontRef>
        </dgm:style>
      </dgm:prSet>
      <dgm:spPr/>
      <dgm:t>
        <a:bodyPr/>
        <a:lstStyle/>
        <a:p>
          <a:endParaRPr lang="en-CA"/>
        </a:p>
      </dgm:t>
    </dgm:pt>
    <dgm:pt modelId="{CF5C3B97-A188-4A80-B122-9D7058C8D3FA}" type="sibTrans" cxnId="{089521AA-8793-4C68-A846-EFD3E9EE7550}">
      <dgm:prSet/>
      <dgm:spPr/>
      <dgm:t>
        <a:bodyPr/>
        <a:lstStyle/>
        <a:p>
          <a:endParaRPr lang="en-CA"/>
        </a:p>
      </dgm:t>
    </dgm:pt>
    <dgm:pt modelId="{FD0A734F-1F59-4430-A698-8F390ABFF5C1}" type="pres">
      <dgm:prSet presAssocID="{688B39D1-11D6-4E33-B381-A41D70DAE58F}" presName="hierChild1" presStyleCnt="0">
        <dgm:presLayoutVars>
          <dgm:orgChart val="1"/>
          <dgm:chPref val="1"/>
          <dgm:dir/>
          <dgm:animOne val="branch"/>
          <dgm:animLvl val="lvl"/>
          <dgm:resizeHandles/>
        </dgm:presLayoutVars>
      </dgm:prSet>
      <dgm:spPr/>
    </dgm:pt>
    <dgm:pt modelId="{48EBB676-2824-4AEE-9D85-ACBD61F1A355}" type="pres">
      <dgm:prSet presAssocID="{1D2201FA-BB4F-4AB9-91D8-359B35CA3C2F}" presName="hierRoot1" presStyleCnt="0">
        <dgm:presLayoutVars>
          <dgm:hierBranch val="init"/>
        </dgm:presLayoutVars>
      </dgm:prSet>
      <dgm:spPr/>
    </dgm:pt>
    <dgm:pt modelId="{F7F17B73-B0B1-4B22-ACFA-72C648F4F3CA}" type="pres">
      <dgm:prSet presAssocID="{1D2201FA-BB4F-4AB9-91D8-359B35CA3C2F}" presName="rootComposite1" presStyleCnt="0"/>
      <dgm:spPr/>
    </dgm:pt>
    <dgm:pt modelId="{60898BB1-B89F-4641-B03A-590C9CE57B20}" type="pres">
      <dgm:prSet presAssocID="{1D2201FA-BB4F-4AB9-91D8-359B35CA3C2F}" presName="rootText1" presStyleLbl="node0" presStyleIdx="0" presStyleCnt="1">
        <dgm:presLayoutVars>
          <dgm:chPref val="3"/>
        </dgm:presLayoutVars>
      </dgm:prSet>
      <dgm:spPr/>
    </dgm:pt>
    <dgm:pt modelId="{56680EAB-5E59-43C7-A975-6BDFCC2FE280}" type="pres">
      <dgm:prSet presAssocID="{1D2201FA-BB4F-4AB9-91D8-359B35CA3C2F}" presName="rootConnector1" presStyleLbl="node1" presStyleIdx="0" presStyleCnt="0"/>
      <dgm:spPr/>
    </dgm:pt>
    <dgm:pt modelId="{0B183550-DAD6-451A-BC36-5FA1FC2D8A7B}" type="pres">
      <dgm:prSet presAssocID="{1D2201FA-BB4F-4AB9-91D8-359B35CA3C2F}" presName="hierChild2" presStyleCnt="0"/>
      <dgm:spPr/>
    </dgm:pt>
    <dgm:pt modelId="{A529425B-16AD-45B6-8846-629F57F83A6B}" type="pres">
      <dgm:prSet presAssocID="{F8B7F841-3F70-42CE-BEA0-201C6DCBCD73}" presName="Name37" presStyleLbl="parChTrans1D2" presStyleIdx="0" presStyleCnt="4"/>
      <dgm:spPr/>
    </dgm:pt>
    <dgm:pt modelId="{7515150A-0407-4F46-B0A0-13BA17D6B314}" type="pres">
      <dgm:prSet presAssocID="{BD1C3E0E-76A2-44B9-BD9C-730FE09181FD}" presName="hierRoot2" presStyleCnt="0">
        <dgm:presLayoutVars>
          <dgm:hierBranch val="init"/>
        </dgm:presLayoutVars>
      </dgm:prSet>
      <dgm:spPr/>
    </dgm:pt>
    <dgm:pt modelId="{1046F9C0-842C-4722-8E2A-F96CC4DC3510}" type="pres">
      <dgm:prSet presAssocID="{BD1C3E0E-76A2-44B9-BD9C-730FE09181FD}" presName="rootComposite" presStyleCnt="0"/>
      <dgm:spPr/>
    </dgm:pt>
    <dgm:pt modelId="{B30FCB4B-77E6-48CC-A9F9-B2D00F123EDB}" type="pres">
      <dgm:prSet presAssocID="{BD1C3E0E-76A2-44B9-BD9C-730FE09181FD}" presName="rootText" presStyleLbl="node2" presStyleIdx="0" presStyleCnt="4" custLinFactNeighborY="788">
        <dgm:presLayoutVars>
          <dgm:chPref val="3"/>
        </dgm:presLayoutVars>
      </dgm:prSet>
      <dgm:spPr/>
    </dgm:pt>
    <dgm:pt modelId="{C466EBD9-7D7B-4E7A-966F-48C8925515CC}" type="pres">
      <dgm:prSet presAssocID="{BD1C3E0E-76A2-44B9-BD9C-730FE09181FD}" presName="rootConnector" presStyleLbl="node2" presStyleIdx="0" presStyleCnt="4"/>
      <dgm:spPr/>
    </dgm:pt>
    <dgm:pt modelId="{13755B2C-FD23-4AFD-B008-FF2B444988A7}" type="pres">
      <dgm:prSet presAssocID="{BD1C3E0E-76A2-44B9-BD9C-730FE09181FD}" presName="hierChild4" presStyleCnt="0"/>
      <dgm:spPr/>
    </dgm:pt>
    <dgm:pt modelId="{70B89B5B-FC43-4403-BCD2-7289E6A55866}" type="pres">
      <dgm:prSet presAssocID="{BD1C3E0E-76A2-44B9-BD9C-730FE09181FD}" presName="hierChild5" presStyleCnt="0"/>
      <dgm:spPr/>
    </dgm:pt>
    <dgm:pt modelId="{8B5EBEF5-023F-464A-B411-63A8847DD0C9}" type="pres">
      <dgm:prSet presAssocID="{19D5DFAB-5E8D-4750-B3E7-B1BD342A3031}" presName="Name37" presStyleLbl="parChTrans1D2" presStyleIdx="1" presStyleCnt="4"/>
      <dgm:spPr/>
    </dgm:pt>
    <dgm:pt modelId="{421A2ED5-9F18-432D-862B-CEBC57EEA505}" type="pres">
      <dgm:prSet presAssocID="{3C3F0F39-031A-4254-90A7-32A83F57ABCC}" presName="hierRoot2" presStyleCnt="0">
        <dgm:presLayoutVars>
          <dgm:hierBranch val="init"/>
        </dgm:presLayoutVars>
      </dgm:prSet>
      <dgm:spPr/>
    </dgm:pt>
    <dgm:pt modelId="{4E3616DC-FD2B-45CE-90F8-E03FF7868377}" type="pres">
      <dgm:prSet presAssocID="{3C3F0F39-031A-4254-90A7-32A83F57ABCC}" presName="rootComposite" presStyleCnt="0"/>
      <dgm:spPr/>
    </dgm:pt>
    <dgm:pt modelId="{739A7F27-4C19-485E-807A-3CCBEBB497E2}" type="pres">
      <dgm:prSet presAssocID="{3C3F0F39-031A-4254-90A7-32A83F57ABCC}" presName="rootText" presStyleLbl="node2" presStyleIdx="1" presStyleCnt="4">
        <dgm:presLayoutVars>
          <dgm:chPref val="3"/>
        </dgm:presLayoutVars>
      </dgm:prSet>
      <dgm:spPr/>
    </dgm:pt>
    <dgm:pt modelId="{EF601D06-BB02-4928-874D-129DBF1C93DE}" type="pres">
      <dgm:prSet presAssocID="{3C3F0F39-031A-4254-90A7-32A83F57ABCC}" presName="rootConnector" presStyleLbl="node2" presStyleIdx="1" presStyleCnt="4"/>
      <dgm:spPr/>
    </dgm:pt>
    <dgm:pt modelId="{97CA52A0-CE3C-4AC4-AD2B-491C436BC3B9}" type="pres">
      <dgm:prSet presAssocID="{3C3F0F39-031A-4254-90A7-32A83F57ABCC}" presName="hierChild4" presStyleCnt="0"/>
      <dgm:spPr/>
    </dgm:pt>
    <dgm:pt modelId="{3B875F16-89E5-42C7-84C5-6C885366A941}" type="pres">
      <dgm:prSet presAssocID="{3C3F0F39-031A-4254-90A7-32A83F57ABCC}" presName="hierChild5" presStyleCnt="0"/>
      <dgm:spPr/>
    </dgm:pt>
    <dgm:pt modelId="{23B61492-02E5-48A7-A3BE-C8EB1BC80D7B}" type="pres">
      <dgm:prSet presAssocID="{FBD49FFE-A93F-44D1-BF0A-D6285EEC9207}" presName="Name37" presStyleLbl="parChTrans1D2" presStyleIdx="2" presStyleCnt="4"/>
      <dgm:spPr/>
    </dgm:pt>
    <dgm:pt modelId="{5EC8A926-9409-45C4-9F9D-4A98EDC3F47A}" type="pres">
      <dgm:prSet presAssocID="{39351F80-07F7-43EF-A566-3F375B1E476B}" presName="hierRoot2" presStyleCnt="0">
        <dgm:presLayoutVars>
          <dgm:hierBranch val="init"/>
        </dgm:presLayoutVars>
      </dgm:prSet>
      <dgm:spPr/>
    </dgm:pt>
    <dgm:pt modelId="{9A4E8EA2-8ACA-4DD3-949F-D52230E239B8}" type="pres">
      <dgm:prSet presAssocID="{39351F80-07F7-43EF-A566-3F375B1E476B}" presName="rootComposite" presStyleCnt="0"/>
      <dgm:spPr/>
    </dgm:pt>
    <dgm:pt modelId="{DB100E4C-0150-4467-82BE-40C9867562ED}" type="pres">
      <dgm:prSet presAssocID="{39351F80-07F7-43EF-A566-3F375B1E476B}" presName="rootText" presStyleLbl="node2" presStyleIdx="2" presStyleCnt="4">
        <dgm:presLayoutVars>
          <dgm:chPref val="3"/>
        </dgm:presLayoutVars>
      </dgm:prSet>
      <dgm:spPr/>
    </dgm:pt>
    <dgm:pt modelId="{4B10121D-F92D-430A-8024-9AD2332631B7}" type="pres">
      <dgm:prSet presAssocID="{39351F80-07F7-43EF-A566-3F375B1E476B}" presName="rootConnector" presStyleLbl="node2" presStyleIdx="2" presStyleCnt="4"/>
      <dgm:spPr/>
    </dgm:pt>
    <dgm:pt modelId="{7AE5EB70-4C5F-4FCC-BE80-08D8C18C9D63}" type="pres">
      <dgm:prSet presAssocID="{39351F80-07F7-43EF-A566-3F375B1E476B}" presName="hierChild4" presStyleCnt="0"/>
      <dgm:spPr/>
    </dgm:pt>
    <dgm:pt modelId="{1639A804-27C7-47E1-AE65-4493790F5661}" type="pres">
      <dgm:prSet presAssocID="{39351F80-07F7-43EF-A566-3F375B1E476B}" presName="hierChild5" presStyleCnt="0"/>
      <dgm:spPr/>
    </dgm:pt>
    <dgm:pt modelId="{7BDA1FE4-242B-4892-A16E-D4FE2C875601}" type="pres">
      <dgm:prSet presAssocID="{E139FD55-2198-4819-987E-0F140B0B6CF9}" presName="Name37" presStyleLbl="parChTrans1D2" presStyleIdx="3" presStyleCnt="4"/>
      <dgm:spPr/>
    </dgm:pt>
    <dgm:pt modelId="{7F649449-6AE3-48AA-984B-443D9F014F4E}" type="pres">
      <dgm:prSet presAssocID="{E5296007-0B0A-4272-8F30-367FF4EB0ED3}" presName="hierRoot2" presStyleCnt="0">
        <dgm:presLayoutVars>
          <dgm:hierBranch val="init"/>
        </dgm:presLayoutVars>
      </dgm:prSet>
      <dgm:spPr/>
    </dgm:pt>
    <dgm:pt modelId="{AB619F7A-4C8F-4652-BEC2-6E2C123C0B27}" type="pres">
      <dgm:prSet presAssocID="{E5296007-0B0A-4272-8F30-367FF4EB0ED3}" presName="rootComposite" presStyleCnt="0"/>
      <dgm:spPr/>
    </dgm:pt>
    <dgm:pt modelId="{41CDA912-3E55-4EF1-80DF-FC7485701D25}" type="pres">
      <dgm:prSet presAssocID="{E5296007-0B0A-4272-8F30-367FF4EB0ED3}" presName="rootText" presStyleLbl="node2" presStyleIdx="3" presStyleCnt="4">
        <dgm:presLayoutVars>
          <dgm:chPref val="3"/>
        </dgm:presLayoutVars>
      </dgm:prSet>
      <dgm:spPr/>
    </dgm:pt>
    <dgm:pt modelId="{32A32724-4C50-4AE7-BD5D-68B01B37C9AB}" type="pres">
      <dgm:prSet presAssocID="{E5296007-0B0A-4272-8F30-367FF4EB0ED3}" presName="rootConnector" presStyleLbl="node2" presStyleIdx="3" presStyleCnt="4"/>
      <dgm:spPr/>
    </dgm:pt>
    <dgm:pt modelId="{9A3F7B4E-B25F-4B25-8F1F-40B2DB7C3056}" type="pres">
      <dgm:prSet presAssocID="{E5296007-0B0A-4272-8F30-367FF4EB0ED3}" presName="hierChild4" presStyleCnt="0"/>
      <dgm:spPr/>
    </dgm:pt>
    <dgm:pt modelId="{8E0E95BA-1CA7-41E6-A291-6653FBE0DA7C}" type="pres">
      <dgm:prSet presAssocID="{E5296007-0B0A-4272-8F30-367FF4EB0ED3}" presName="hierChild5" presStyleCnt="0"/>
      <dgm:spPr/>
    </dgm:pt>
    <dgm:pt modelId="{C0EF346A-6A82-4558-9C48-A604B87B780C}" type="pres">
      <dgm:prSet presAssocID="{1D2201FA-BB4F-4AB9-91D8-359B35CA3C2F}" presName="hierChild3" presStyleCnt="0"/>
      <dgm:spPr/>
    </dgm:pt>
  </dgm:ptLst>
  <dgm:cxnLst>
    <dgm:cxn modelId="{821BD106-DF35-496F-B556-8E0E6381D589}" srcId="{688B39D1-11D6-4E33-B381-A41D70DAE58F}" destId="{1D2201FA-BB4F-4AB9-91D8-359B35CA3C2F}" srcOrd="0" destOrd="0" parTransId="{CAF589FF-D6EB-4BBE-88D8-C0184752EA08}" sibTransId="{637D1873-01CC-43D8-B160-FC3AA034276C}"/>
    <dgm:cxn modelId="{7353ED09-8228-4426-9699-0A0A0F9DE307}" type="presOf" srcId="{19D5DFAB-5E8D-4750-B3E7-B1BD342A3031}" destId="{8B5EBEF5-023F-464A-B411-63A8847DD0C9}" srcOrd="0" destOrd="0" presId="urn:microsoft.com/office/officeart/2005/8/layout/orgChart1"/>
    <dgm:cxn modelId="{B3315C11-CAC8-40B0-B808-FEC8CB8E4DC1}" type="presOf" srcId="{39351F80-07F7-43EF-A566-3F375B1E476B}" destId="{4B10121D-F92D-430A-8024-9AD2332631B7}" srcOrd="1" destOrd="0" presId="urn:microsoft.com/office/officeart/2005/8/layout/orgChart1"/>
    <dgm:cxn modelId="{666CA63B-E7DE-48F5-9233-8A30F9176B5B}" type="presOf" srcId="{E5296007-0B0A-4272-8F30-367FF4EB0ED3}" destId="{32A32724-4C50-4AE7-BD5D-68B01B37C9AB}" srcOrd="1" destOrd="0" presId="urn:microsoft.com/office/officeart/2005/8/layout/orgChart1"/>
    <dgm:cxn modelId="{58059D3D-8CDC-4950-9432-914F9BD85EF0}" type="presOf" srcId="{3C3F0F39-031A-4254-90A7-32A83F57ABCC}" destId="{739A7F27-4C19-485E-807A-3CCBEBB497E2}" srcOrd="0" destOrd="0" presId="urn:microsoft.com/office/officeart/2005/8/layout/orgChart1"/>
    <dgm:cxn modelId="{0F40D050-C4BA-4B9E-B10B-2ED97C44B741}" type="presOf" srcId="{F8B7F841-3F70-42CE-BEA0-201C6DCBCD73}" destId="{A529425B-16AD-45B6-8846-629F57F83A6B}" srcOrd="0" destOrd="0" presId="urn:microsoft.com/office/officeart/2005/8/layout/orgChart1"/>
    <dgm:cxn modelId="{D1DEC18D-C352-4E66-98BB-0B7038036A95}" type="presOf" srcId="{FBD49FFE-A93F-44D1-BF0A-D6285EEC9207}" destId="{23B61492-02E5-48A7-A3BE-C8EB1BC80D7B}" srcOrd="0" destOrd="0" presId="urn:microsoft.com/office/officeart/2005/8/layout/orgChart1"/>
    <dgm:cxn modelId="{CC4C1291-463D-4103-8D74-A4D938D90187}" type="presOf" srcId="{39351F80-07F7-43EF-A566-3F375B1E476B}" destId="{DB100E4C-0150-4467-82BE-40C9867562ED}" srcOrd="0" destOrd="0" presId="urn:microsoft.com/office/officeart/2005/8/layout/orgChart1"/>
    <dgm:cxn modelId="{EC43FE93-E9AA-4D5C-86FC-AEA0A9DC3E67}" type="presOf" srcId="{1D2201FA-BB4F-4AB9-91D8-359B35CA3C2F}" destId="{56680EAB-5E59-43C7-A975-6BDFCC2FE280}" srcOrd="1" destOrd="0" presId="urn:microsoft.com/office/officeart/2005/8/layout/orgChart1"/>
    <dgm:cxn modelId="{9D22549D-E416-4857-90B6-CFE3FDC7895A}" srcId="{1D2201FA-BB4F-4AB9-91D8-359B35CA3C2F}" destId="{BD1C3E0E-76A2-44B9-BD9C-730FE09181FD}" srcOrd="0" destOrd="0" parTransId="{F8B7F841-3F70-42CE-BEA0-201C6DCBCD73}" sibTransId="{71853357-2731-4BBA-8410-A3F77644A48E}"/>
    <dgm:cxn modelId="{C96AF2A7-ABF3-478F-A7EA-218C7515B2B6}" type="presOf" srcId="{E139FD55-2198-4819-987E-0F140B0B6CF9}" destId="{7BDA1FE4-242B-4892-A16E-D4FE2C875601}" srcOrd="0" destOrd="0" presId="urn:microsoft.com/office/officeart/2005/8/layout/orgChart1"/>
    <dgm:cxn modelId="{536C22A8-883C-45A5-98AC-7B7DD4C57C86}" type="presOf" srcId="{688B39D1-11D6-4E33-B381-A41D70DAE58F}" destId="{FD0A734F-1F59-4430-A698-8F390ABFF5C1}" srcOrd="0" destOrd="0" presId="urn:microsoft.com/office/officeart/2005/8/layout/orgChart1"/>
    <dgm:cxn modelId="{089521AA-8793-4C68-A846-EFD3E9EE7550}" srcId="{1D2201FA-BB4F-4AB9-91D8-359B35CA3C2F}" destId="{39351F80-07F7-43EF-A566-3F375B1E476B}" srcOrd="2" destOrd="0" parTransId="{FBD49FFE-A93F-44D1-BF0A-D6285EEC9207}" sibTransId="{CF5C3B97-A188-4A80-B122-9D7058C8D3FA}"/>
    <dgm:cxn modelId="{154E5BB3-C1B4-47A3-BE0C-4FD130FD2B47}" srcId="{1D2201FA-BB4F-4AB9-91D8-359B35CA3C2F}" destId="{3C3F0F39-031A-4254-90A7-32A83F57ABCC}" srcOrd="1" destOrd="0" parTransId="{19D5DFAB-5E8D-4750-B3E7-B1BD342A3031}" sibTransId="{2E311B99-7535-4291-A7C2-357E76DF4203}"/>
    <dgm:cxn modelId="{1BCD10B9-2169-4D81-9B39-933E9C64A540}" type="presOf" srcId="{BD1C3E0E-76A2-44B9-BD9C-730FE09181FD}" destId="{C466EBD9-7D7B-4E7A-966F-48C8925515CC}" srcOrd="1" destOrd="0" presId="urn:microsoft.com/office/officeart/2005/8/layout/orgChart1"/>
    <dgm:cxn modelId="{CE629BC4-0051-44AC-B6B5-574518BF8D2D}" type="presOf" srcId="{1D2201FA-BB4F-4AB9-91D8-359B35CA3C2F}" destId="{60898BB1-B89F-4641-B03A-590C9CE57B20}" srcOrd="0" destOrd="0" presId="urn:microsoft.com/office/officeart/2005/8/layout/orgChart1"/>
    <dgm:cxn modelId="{E24CC6CD-43F3-4FFC-B83E-37FC0B859A2F}" type="presOf" srcId="{BD1C3E0E-76A2-44B9-BD9C-730FE09181FD}" destId="{B30FCB4B-77E6-48CC-A9F9-B2D00F123EDB}" srcOrd="0" destOrd="0" presId="urn:microsoft.com/office/officeart/2005/8/layout/orgChart1"/>
    <dgm:cxn modelId="{86C6F0D8-A5A2-4B4B-A827-1E71F99BD34A}" type="presOf" srcId="{3C3F0F39-031A-4254-90A7-32A83F57ABCC}" destId="{EF601D06-BB02-4928-874D-129DBF1C93DE}" srcOrd="1" destOrd="0" presId="urn:microsoft.com/office/officeart/2005/8/layout/orgChart1"/>
    <dgm:cxn modelId="{2E5985F8-56A1-4C19-AA27-9FC8A1021C51}" type="presOf" srcId="{E5296007-0B0A-4272-8F30-367FF4EB0ED3}" destId="{41CDA912-3E55-4EF1-80DF-FC7485701D25}" srcOrd="0" destOrd="0" presId="urn:microsoft.com/office/officeart/2005/8/layout/orgChart1"/>
    <dgm:cxn modelId="{A3D415FC-D6B7-4546-95A5-9BD799CB94B7}" srcId="{1D2201FA-BB4F-4AB9-91D8-359B35CA3C2F}" destId="{E5296007-0B0A-4272-8F30-367FF4EB0ED3}" srcOrd="3" destOrd="0" parTransId="{E139FD55-2198-4819-987E-0F140B0B6CF9}" sibTransId="{3AE2ACDB-25F7-4279-9DBB-B462DD76D989}"/>
    <dgm:cxn modelId="{C77CEBFC-EF52-4DC4-899C-D34FF04B7C60}" type="presParOf" srcId="{FD0A734F-1F59-4430-A698-8F390ABFF5C1}" destId="{48EBB676-2824-4AEE-9D85-ACBD61F1A355}" srcOrd="0" destOrd="0" presId="urn:microsoft.com/office/officeart/2005/8/layout/orgChart1"/>
    <dgm:cxn modelId="{4A1E0891-A33B-460F-9DCD-6839D95C6AB9}" type="presParOf" srcId="{48EBB676-2824-4AEE-9D85-ACBD61F1A355}" destId="{F7F17B73-B0B1-4B22-ACFA-72C648F4F3CA}" srcOrd="0" destOrd="0" presId="urn:microsoft.com/office/officeart/2005/8/layout/orgChart1"/>
    <dgm:cxn modelId="{0C4C5F5C-CD71-4BF2-9C8F-998CC526F7EB}" type="presParOf" srcId="{F7F17B73-B0B1-4B22-ACFA-72C648F4F3CA}" destId="{60898BB1-B89F-4641-B03A-590C9CE57B20}" srcOrd="0" destOrd="0" presId="urn:microsoft.com/office/officeart/2005/8/layout/orgChart1"/>
    <dgm:cxn modelId="{0C74BBB5-A879-4D85-9B69-6635D0363B24}" type="presParOf" srcId="{F7F17B73-B0B1-4B22-ACFA-72C648F4F3CA}" destId="{56680EAB-5E59-43C7-A975-6BDFCC2FE280}" srcOrd="1" destOrd="0" presId="urn:microsoft.com/office/officeart/2005/8/layout/orgChart1"/>
    <dgm:cxn modelId="{50CC4C86-72FE-4ED6-84C0-BC9502DAE3BD}" type="presParOf" srcId="{48EBB676-2824-4AEE-9D85-ACBD61F1A355}" destId="{0B183550-DAD6-451A-BC36-5FA1FC2D8A7B}" srcOrd="1" destOrd="0" presId="urn:microsoft.com/office/officeart/2005/8/layout/orgChart1"/>
    <dgm:cxn modelId="{647FAC81-250C-4A7D-988D-D529E33F1F5E}" type="presParOf" srcId="{0B183550-DAD6-451A-BC36-5FA1FC2D8A7B}" destId="{A529425B-16AD-45B6-8846-629F57F83A6B}" srcOrd="0" destOrd="0" presId="urn:microsoft.com/office/officeart/2005/8/layout/orgChart1"/>
    <dgm:cxn modelId="{E02CFE92-5987-4E97-8B8F-53E30E39BB2E}" type="presParOf" srcId="{0B183550-DAD6-451A-BC36-5FA1FC2D8A7B}" destId="{7515150A-0407-4F46-B0A0-13BA17D6B314}" srcOrd="1" destOrd="0" presId="urn:microsoft.com/office/officeart/2005/8/layout/orgChart1"/>
    <dgm:cxn modelId="{C070301B-F4A6-4FAD-B82D-576B2BD04243}" type="presParOf" srcId="{7515150A-0407-4F46-B0A0-13BA17D6B314}" destId="{1046F9C0-842C-4722-8E2A-F96CC4DC3510}" srcOrd="0" destOrd="0" presId="urn:microsoft.com/office/officeart/2005/8/layout/orgChart1"/>
    <dgm:cxn modelId="{E902DFE6-3455-479D-9E19-1A1F377FE18C}" type="presParOf" srcId="{1046F9C0-842C-4722-8E2A-F96CC4DC3510}" destId="{B30FCB4B-77E6-48CC-A9F9-B2D00F123EDB}" srcOrd="0" destOrd="0" presId="urn:microsoft.com/office/officeart/2005/8/layout/orgChart1"/>
    <dgm:cxn modelId="{7C9456CF-6A94-4D28-B933-850F8540C420}" type="presParOf" srcId="{1046F9C0-842C-4722-8E2A-F96CC4DC3510}" destId="{C466EBD9-7D7B-4E7A-966F-48C8925515CC}" srcOrd="1" destOrd="0" presId="urn:microsoft.com/office/officeart/2005/8/layout/orgChart1"/>
    <dgm:cxn modelId="{FCF87E4E-7D22-4486-9DE3-DAED1563D35A}" type="presParOf" srcId="{7515150A-0407-4F46-B0A0-13BA17D6B314}" destId="{13755B2C-FD23-4AFD-B008-FF2B444988A7}" srcOrd="1" destOrd="0" presId="urn:microsoft.com/office/officeart/2005/8/layout/orgChart1"/>
    <dgm:cxn modelId="{6720FB17-D81F-43F8-8A1B-D7CC5A86166F}" type="presParOf" srcId="{7515150A-0407-4F46-B0A0-13BA17D6B314}" destId="{70B89B5B-FC43-4403-BCD2-7289E6A55866}" srcOrd="2" destOrd="0" presId="urn:microsoft.com/office/officeart/2005/8/layout/orgChart1"/>
    <dgm:cxn modelId="{1BF4E3A6-5FEE-4E3D-A2FC-C2E1F5F3EC55}" type="presParOf" srcId="{0B183550-DAD6-451A-BC36-5FA1FC2D8A7B}" destId="{8B5EBEF5-023F-464A-B411-63A8847DD0C9}" srcOrd="2" destOrd="0" presId="urn:microsoft.com/office/officeart/2005/8/layout/orgChart1"/>
    <dgm:cxn modelId="{A97AFA7A-CEB1-4417-A9F1-81B7A6AA7E2E}" type="presParOf" srcId="{0B183550-DAD6-451A-BC36-5FA1FC2D8A7B}" destId="{421A2ED5-9F18-432D-862B-CEBC57EEA505}" srcOrd="3" destOrd="0" presId="urn:microsoft.com/office/officeart/2005/8/layout/orgChart1"/>
    <dgm:cxn modelId="{8892A543-2347-4A7C-A3CA-013DF9C65EC9}" type="presParOf" srcId="{421A2ED5-9F18-432D-862B-CEBC57EEA505}" destId="{4E3616DC-FD2B-45CE-90F8-E03FF7868377}" srcOrd="0" destOrd="0" presId="urn:microsoft.com/office/officeart/2005/8/layout/orgChart1"/>
    <dgm:cxn modelId="{37D4EC12-FECB-4742-A7E1-048D35B3C348}" type="presParOf" srcId="{4E3616DC-FD2B-45CE-90F8-E03FF7868377}" destId="{739A7F27-4C19-485E-807A-3CCBEBB497E2}" srcOrd="0" destOrd="0" presId="urn:microsoft.com/office/officeart/2005/8/layout/orgChart1"/>
    <dgm:cxn modelId="{C763548F-5721-41C6-BA91-D2DF12BDE428}" type="presParOf" srcId="{4E3616DC-FD2B-45CE-90F8-E03FF7868377}" destId="{EF601D06-BB02-4928-874D-129DBF1C93DE}" srcOrd="1" destOrd="0" presId="urn:microsoft.com/office/officeart/2005/8/layout/orgChart1"/>
    <dgm:cxn modelId="{59137EEF-A789-4060-8F8D-28B2C5776327}" type="presParOf" srcId="{421A2ED5-9F18-432D-862B-CEBC57EEA505}" destId="{97CA52A0-CE3C-4AC4-AD2B-491C436BC3B9}" srcOrd="1" destOrd="0" presId="urn:microsoft.com/office/officeart/2005/8/layout/orgChart1"/>
    <dgm:cxn modelId="{1F7B69BD-6086-4C2F-9C1E-A6D76EE05368}" type="presParOf" srcId="{421A2ED5-9F18-432D-862B-CEBC57EEA505}" destId="{3B875F16-89E5-42C7-84C5-6C885366A941}" srcOrd="2" destOrd="0" presId="urn:microsoft.com/office/officeart/2005/8/layout/orgChart1"/>
    <dgm:cxn modelId="{88DFCBE8-5C46-469C-89D6-85EFB0518F70}" type="presParOf" srcId="{0B183550-DAD6-451A-BC36-5FA1FC2D8A7B}" destId="{23B61492-02E5-48A7-A3BE-C8EB1BC80D7B}" srcOrd="4" destOrd="0" presId="urn:microsoft.com/office/officeart/2005/8/layout/orgChart1"/>
    <dgm:cxn modelId="{EE9F8E7E-688C-47F1-99D8-708D3FD37732}" type="presParOf" srcId="{0B183550-DAD6-451A-BC36-5FA1FC2D8A7B}" destId="{5EC8A926-9409-45C4-9F9D-4A98EDC3F47A}" srcOrd="5" destOrd="0" presId="urn:microsoft.com/office/officeart/2005/8/layout/orgChart1"/>
    <dgm:cxn modelId="{06DB7723-D544-4DB3-B729-95CB3E0CBCD2}" type="presParOf" srcId="{5EC8A926-9409-45C4-9F9D-4A98EDC3F47A}" destId="{9A4E8EA2-8ACA-4DD3-949F-D52230E239B8}" srcOrd="0" destOrd="0" presId="urn:microsoft.com/office/officeart/2005/8/layout/orgChart1"/>
    <dgm:cxn modelId="{197FF290-BDA1-43E7-A613-A891D5BA6DCF}" type="presParOf" srcId="{9A4E8EA2-8ACA-4DD3-949F-D52230E239B8}" destId="{DB100E4C-0150-4467-82BE-40C9867562ED}" srcOrd="0" destOrd="0" presId="urn:microsoft.com/office/officeart/2005/8/layout/orgChart1"/>
    <dgm:cxn modelId="{2662DC4F-2112-4273-AE81-CAE89601B76F}" type="presParOf" srcId="{9A4E8EA2-8ACA-4DD3-949F-D52230E239B8}" destId="{4B10121D-F92D-430A-8024-9AD2332631B7}" srcOrd="1" destOrd="0" presId="urn:microsoft.com/office/officeart/2005/8/layout/orgChart1"/>
    <dgm:cxn modelId="{092FD588-39C0-4321-B523-394035188963}" type="presParOf" srcId="{5EC8A926-9409-45C4-9F9D-4A98EDC3F47A}" destId="{7AE5EB70-4C5F-4FCC-BE80-08D8C18C9D63}" srcOrd="1" destOrd="0" presId="urn:microsoft.com/office/officeart/2005/8/layout/orgChart1"/>
    <dgm:cxn modelId="{9983901D-94E5-431A-9C5E-D3B76BB63328}" type="presParOf" srcId="{5EC8A926-9409-45C4-9F9D-4A98EDC3F47A}" destId="{1639A804-27C7-47E1-AE65-4493790F5661}" srcOrd="2" destOrd="0" presId="urn:microsoft.com/office/officeart/2005/8/layout/orgChart1"/>
    <dgm:cxn modelId="{30DBA417-B46F-498E-BCF4-13C4616608FD}" type="presParOf" srcId="{0B183550-DAD6-451A-BC36-5FA1FC2D8A7B}" destId="{7BDA1FE4-242B-4892-A16E-D4FE2C875601}" srcOrd="6" destOrd="0" presId="urn:microsoft.com/office/officeart/2005/8/layout/orgChart1"/>
    <dgm:cxn modelId="{26B89B5E-964C-49F1-8F3C-E08291196BD6}" type="presParOf" srcId="{0B183550-DAD6-451A-BC36-5FA1FC2D8A7B}" destId="{7F649449-6AE3-48AA-984B-443D9F014F4E}" srcOrd="7" destOrd="0" presId="urn:microsoft.com/office/officeart/2005/8/layout/orgChart1"/>
    <dgm:cxn modelId="{C4600C27-BADF-4F1F-AB1B-9C25670277B3}" type="presParOf" srcId="{7F649449-6AE3-48AA-984B-443D9F014F4E}" destId="{AB619F7A-4C8F-4652-BEC2-6E2C123C0B27}" srcOrd="0" destOrd="0" presId="urn:microsoft.com/office/officeart/2005/8/layout/orgChart1"/>
    <dgm:cxn modelId="{EDDE5441-F619-4900-8B95-FC42A3522BC2}" type="presParOf" srcId="{AB619F7A-4C8F-4652-BEC2-6E2C123C0B27}" destId="{41CDA912-3E55-4EF1-80DF-FC7485701D25}" srcOrd="0" destOrd="0" presId="urn:microsoft.com/office/officeart/2005/8/layout/orgChart1"/>
    <dgm:cxn modelId="{CA847EC7-6DEE-4643-A7C3-71114E9B680B}" type="presParOf" srcId="{AB619F7A-4C8F-4652-BEC2-6E2C123C0B27}" destId="{32A32724-4C50-4AE7-BD5D-68B01B37C9AB}" srcOrd="1" destOrd="0" presId="urn:microsoft.com/office/officeart/2005/8/layout/orgChart1"/>
    <dgm:cxn modelId="{9BE874CB-E1A8-43F4-B7E7-65CAD664C191}" type="presParOf" srcId="{7F649449-6AE3-48AA-984B-443D9F014F4E}" destId="{9A3F7B4E-B25F-4B25-8F1F-40B2DB7C3056}" srcOrd="1" destOrd="0" presId="urn:microsoft.com/office/officeart/2005/8/layout/orgChart1"/>
    <dgm:cxn modelId="{5B479F7B-FE40-47A5-9F0E-0E0081E5E9A1}" type="presParOf" srcId="{7F649449-6AE3-48AA-984B-443D9F014F4E}" destId="{8E0E95BA-1CA7-41E6-A291-6653FBE0DA7C}" srcOrd="2" destOrd="0" presId="urn:microsoft.com/office/officeart/2005/8/layout/orgChart1"/>
    <dgm:cxn modelId="{416B1112-805D-4582-8729-77CA33E6CCAE}" type="presParOf" srcId="{48EBB676-2824-4AEE-9D85-ACBD61F1A355}" destId="{C0EF346A-6A82-4558-9C48-A604B87B780C}"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B8713712-26E4-4CE0-8E57-C35395496884}" type="doc">
      <dgm:prSet loTypeId="urn:microsoft.com/office/officeart/2008/layout/VerticalCurvedList" loCatId="list" qsTypeId="urn:microsoft.com/office/officeart/2005/8/quickstyle/simple1" qsCatId="simple" csTypeId="urn:microsoft.com/office/officeart/2005/8/colors/accent0_1" csCatId="mainScheme" phldr="1"/>
      <dgm:spPr/>
      <dgm:t>
        <a:bodyPr/>
        <a:lstStyle/>
        <a:p>
          <a:endParaRPr lang="en-US"/>
        </a:p>
      </dgm:t>
    </dgm:pt>
    <dgm:pt modelId="{A4213345-CD76-4F12-9BE2-231227A9DD69}">
      <dgm:prSet phldrT="[Text]" custT="1"/>
      <dgm:spPr>
        <a:solidFill>
          <a:schemeClr val="tx2">
            <a:lumMod val="10000"/>
            <a:lumOff val="90000"/>
          </a:schemeClr>
        </a:solidFill>
      </dgm:spPr>
      <dgm:t>
        <a:bodyPr/>
        <a:lstStyle/>
        <a:p>
          <a:r>
            <a:rPr lang="en-US" sz="1800"/>
            <a:t>Full Driver Based Processes</a:t>
          </a:r>
        </a:p>
      </dgm:t>
    </dgm:pt>
    <dgm:pt modelId="{26F84A22-8172-4180-889C-2F03F40DB013}" type="parTrans" cxnId="{E5F1449B-8781-4485-8D9E-D2FD6C940918}">
      <dgm:prSet/>
      <dgm:spPr/>
      <dgm:t>
        <a:bodyPr/>
        <a:lstStyle/>
        <a:p>
          <a:endParaRPr lang="en-US"/>
        </a:p>
      </dgm:t>
    </dgm:pt>
    <dgm:pt modelId="{A69193A0-1AB8-42EC-AE36-8028BE129017}" type="sibTrans" cxnId="{E5F1449B-8781-4485-8D9E-D2FD6C940918}">
      <dgm:prSet/>
      <dgm:spPr/>
      <dgm:t>
        <a:bodyPr/>
        <a:lstStyle/>
        <a:p>
          <a:endParaRPr lang="en-US"/>
        </a:p>
      </dgm:t>
    </dgm:pt>
    <dgm:pt modelId="{47373304-BE06-41D4-BFEC-C6D89908061B}">
      <dgm:prSet phldrT="[Text]" custT="1"/>
      <dgm:spPr>
        <a:solidFill>
          <a:schemeClr val="tx2">
            <a:lumMod val="10000"/>
            <a:lumOff val="90000"/>
          </a:schemeClr>
        </a:solidFill>
      </dgm:spPr>
      <dgm:t>
        <a:bodyPr/>
        <a:lstStyle/>
        <a:p>
          <a:r>
            <a:rPr lang="en-US" sz="1800"/>
            <a:t>What If Analysis</a:t>
          </a:r>
        </a:p>
      </dgm:t>
    </dgm:pt>
    <dgm:pt modelId="{600F1D81-1DFB-4943-ABC7-05947C1DEF05}" type="parTrans" cxnId="{4015573F-9102-43DF-8386-B2F019E7738F}">
      <dgm:prSet/>
      <dgm:spPr/>
      <dgm:t>
        <a:bodyPr/>
        <a:lstStyle/>
        <a:p>
          <a:endParaRPr lang="en-US"/>
        </a:p>
      </dgm:t>
    </dgm:pt>
    <dgm:pt modelId="{A34BD771-AF9B-4100-8F02-961DDEB34AD0}" type="sibTrans" cxnId="{4015573F-9102-43DF-8386-B2F019E7738F}">
      <dgm:prSet/>
      <dgm:spPr/>
      <dgm:t>
        <a:bodyPr/>
        <a:lstStyle/>
        <a:p>
          <a:endParaRPr lang="en-US"/>
        </a:p>
      </dgm:t>
    </dgm:pt>
    <dgm:pt modelId="{CE870AC8-1C9F-49EE-99B4-A96DA80B49DA}">
      <dgm:prSet phldrT="[Text]" custT="1"/>
      <dgm:spPr>
        <a:solidFill>
          <a:schemeClr val="tx2">
            <a:lumMod val="10000"/>
            <a:lumOff val="90000"/>
          </a:schemeClr>
        </a:solidFill>
      </dgm:spPr>
      <dgm:t>
        <a:bodyPr/>
        <a:lstStyle/>
        <a:p>
          <a:r>
            <a:rPr lang="en-US" sz="1800"/>
            <a:t>Multi Year Budgeting (Max 10 Y)</a:t>
          </a:r>
        </a:p>
      </dgm:t>
    </dgm:pt>
    <dgm:pt modelId="{9C135D8A-D667-428D-AE5F-1EA5F3AEF979}" type="parTrans" cxnId="{BF236EBC-91E2-411C-B439-9A0670F387A8}">
      <dgm:prSet/>
      <dgm:spPr/>
      <dgm:t>
        <a:bodyPr/>
        <a:lstStyle/>
        <a:p>
          <a:endParaRPr lang="en-US"/>
        </a:p>
      </dgm:t>
    </dgm:pt>
    <dgm:pt modelId="{0DBCE326-4241-4B63-8287-717326F73C39}" type="sibTrans" cxnId="{BF236EBC-91E2-411C-B439-9A0670F387A8}">
      <dgm:prSet/>
      <dgm:spPr/>
      <dgm:t>
        <a:bodyPr/>
        <a:lstStyle/>
        <a:p>
          <a:endParaRPr lang="en-US"/>
        </a:p>
      </dgm:t>
    </dgm:pt>
    <dgm:pt modelId="{C868D0FE-9CBE-4772-9B05-1D1D24619163}">
      <dgm:prSet phldrT="[Text]" custT="1"/>
      <dgm:spPr>
        <a:solidFill>
          <a:schemeClr val="tx2">
            <a:lumMod val="10000"/>
            <a:lumOff val="90000"/>
          </a:schemeClr>
        </a:solidFill>
      </dgm:spPr>
      <dgm:t>
        <a:bodyPr/>
        <a:lstStyle/>
        <a:p>
          <a:r>
            <a:rPr lang="en-US" sz="1800"/>
            <a:t>Full Process Tracking</a:t>
          </a:r>
        </a:p>
      </dgm:t>
    </dgm:pt>
    <dgm:pt modelId="{488DD68C-749E-4B39-8E3A-79CCE86DD6AF}" type="parTrans" cxnId="{79FD1EFB-C6FF-430D-B216-69A7EB06588C}">
      <dgm:prSet/>
      <dgm:spPr/>
      <dgm:t>
        <a:bodyPr/>
        <a:lstStyle/>
        <a:p>
          <a:endParaRPr lang="en-US"/>
        </a:p>
      </dgm:t>
    </dgm:pt>
    <dgm:pt modelId="{24E5EA67-942C-43D6-B2A8-4206EDCC0DA5}" type="sibTrans" cxnId="{79FD1EFB-C6FF-430D-B216-69A7EB06588C}">
      <dgm:prSet/>
      <dgm:spPr/>
      <dgm:t>
        <a:bodyPr/>
        <a:lstStyle/>
        <a:p>
          <a:endParaRPr lang="en-US"/>
        </a:p>
      </dgm:t>
    </dgm:pt>
    <dgm:pt modelId="{1EB6D61E-F3D7-4B3A-947A-8DE631E044CB}">
      <dgm:prSet phldrT="[Text]" custT="1"/>
      <dgm:spPr>
        <a:solidFill>
          <a:schemeClr val="tx2">
            <a:lumMod val="10000"/>
            <a:lumOff val="90000"/>
          </a:schemeClr>
        </a:solidFill>
      </dgm:spPr>
      <dgm:t>
        <a:bodyPr/>
        <a:lstStyle/>
        <a:p>
          <a:r>
            <a:rPr lang="en-US" sz="1800"/>
            <a:t>Data Level Security</a:t>
          </a:r>
        </a:p>
      </dgm:t>
    </dgm:pt>
    <dgm:pt modelId="{3FD7274D-03C1-44E5-9DA4-3E24E252AC46}" type="parTrans" cxnId="{5169EAD4-BDC9-4E98-A6FE-7C1EA8EFDB0A}">
      <dgm:prSet/>
      <dgm:spPr/>
      <dgm:t>
        <a:bodyPr/>
        <a:lstStyle/>
        <a:p>
          <a:endParaRPr lang="en-US"/>
        </a:p>
      </dgm:t>
    </dgm:pt>
    <dgm:pt modelId="{BA3E40C5-A99F-452A-BF5E-1E54F7071A4F}" type="sibTrans" cxnId="{5169EAD4-BDC9-4E98-A6FE-7C1EA8EFDB0A}">
      <dgm:prSet/>
      <dgm:spPr/>
      <dgm:t>
        <a:bodyPr/>
        <a:lstStyle/>
        <a:p>
          <a:endParaRPr lang="en-US"/>
        </a:p>
      </dgm:t>
    </dgm:pt>
    <dgm:pt modelId="{52F68E0E-C73F-4E30-B883-8952230BA580}" type="pres">
      <dgm:prSet presAssocID="{B8713712-26E4-4CE0-8E57-C35395496884}" presName="Name0" presStyleCnt="0">
        <dgm:presLayoutVars>
          <dgm:chMax val="7"/>
          <dgm:chPref val="7"/>
          <dgm:dir/>
        </dgm:presLayoutVars>
      </dgm:prSet>
      <dgm:spPr/>
    </dgm:pt>
    <dgm:pt modelId="{B5BDE08F-1BA8-4DC4-A52E-44DBE71AF20F}" type="pres">
      <dgm:prSet presAssocID="{B8713712-26E4-4CE0-8E57-C35395496884}" presName="Name1" presStyleCnt="0"/>
      <dgm:spPr/>
    </dgm:pt>
    <dgm:pt modelId="{9CC8381D-26BF-437D-98EA-CEF384AF324A}" type="pres">
      <dgm:prSet presAssocID="{B8713712-26E4-4CE0-8E57-C35395496884}" presName="cycle" presStyleCnt="0"/>
      <dgm:spPr/>
    </dgm:pt>
    <dgm:pt modelId="{A7B46151-E8B5-44AD-B7F5-8366930B27E0}" type="pres">
      <dgm:prSet presAssocID="{B8713712-26E4-4CE0-8E57-C35395496884}" presName="srcNode" presStyleLbl="node1" presStyleIdx="0" presStyleCnt="5"/>
      <dgm:spPr/>
    </dgm:pt>
    <dgm:pt modelId="{7B3C19E9-46DA-48E4-B154-F60087E1AF3A}" type="pres">
      <dgm:prSet presAssocID="{B8713712-26E4-4CE0-8E57-C35395496884}" presName="conn" presStyleLbl="parChTrans1D2" presStyleIdx="0" presStyleCnt="1"/>
      <dgm:spPr/>
    </dgm:pt>
    <dgm:pt modelId="{9414ECB3-DBF0-4EEA-923A-6DFD785D8907}" type="pres">
      <dgm:prSet presAssocID="{B8713712-26E4-4CE0-8E57-C35395496884}" presName="extraNode" presStyleLbl="node1" presStyleIdx="0" presStyleCnt="5"/>
      <dgm:spPr/>
    </dgm:pt>
    <dgm:pt modelId="{91658182-BDB3-4C6A-8E3E-70BB99E187D0}" type="pres">
      <dgm:prSet presAssocID="{B8713712-26E4-4CE0-8E57-C35395496884}" presName="dstNode" presStyleLbl="node1" presStyleIdx="0" presStyleCnt="5"/>
      <dgm:spPr/>
    </dgm:pt>
    <dgm:pt modelId="{5CC2C9BB-9DBB-4FCE-BAC9-AA359F026653}" type="pres">
      <dgm:prSet presAssocID="{A4213345-CD76-4F12-9BE2-231227A9DD69}" presName="text_1" presStyleLbl="node1" presStyleIdx="0" presStyleCnt="5">
        <dgm:presLayoutVars>
          <dgm:bulletEnabled val="1"/>
        </dgm:presLayoutVars>
      </dgm:prSet>
      <dgm:spPr/>
    </dgm:pt>
    <dgm:pt modelId="{046B40C3-A7A4-4D47-A494-A41E2BCB22BF}" type="pres">
      <dgm:prSet presAssocID="{A4213345-CD76-4F12-9BE2-231227A9DD69}" presName="accent_1" presStyleCnt="0"/>
      <dgm:spPr/>
    </dgm:pt>
    <dgm:pt modelId="{CABD8E68-C9D2-4F18-86BB-662CC0944406}" type="pres">
      <dgm:prSet presAssocID="{A4213345-CD76-4F12-9BE2-231227A9DD69}" presName="accentRepeatNode" presStyleLbl="solidFgAcc1" presStyleIdx="0" presStyleCnt="5"/>
      <dgm:spPr>
        <a:ln>
          <a:solidFill>
            <a:schemeClr val="accent1"/>
          </a:solidFill>
        </a:ln>
      </dgm:spPr>
    </dgm:pt>
    <dgm:pt modelId="{299F9892-5E69-4F70-A1AC-773B6483332B}" type="pres">
      <dgm:prSet presAssocID="{47373304-BE06-41D4-BFEC-C6D89908061B}" presName="text_2" presStyleLbl="node1" presStyleIdx="1" presStyleCnt="5">
        <dgm:presLayoutVars>
          <dgm:bulletEnabled val="1"/>
        </dgm:presLayoutVars>
      </dgm:prSet>
      <dgm:spPr/>
    </dgm:pt>
    <dgm:pt modelId="{71E510CC-95CA-447F-B19D-00C960C587E9}" type="pres">
      <dgm:prSet presAssocID="{47373304-BE06-41D4-BFEC-C6D89908061B}" presName="accent_2" presStyleCnt="0"/>
      <dgm:spPr/>
    </dgm:pt>
    <dgm:pt modelId="{16263135-E944-4FC3-AF73-2C74F72F337C}" type="pres">
      <dgm:prSet presAssocID="{47373304-BE06-41D4-BFEC-C6D89908061B}" presName="accentRepeatNode" presStyleLbl="solidFgAcc1" presStyleIdx="1" presStyleCnt="5"/>
      <dgm:spPr>
        <a:ln>
          <a:solidFill>
            <a:schemeClr val="accent1"/>
          </a:solidFill>
        </a:ln>
      </dgm:spPr>
    </dgm:pt>
    <dgm:pt modelId="{5E1C9BD5-4352-4322-B154-43211D8B0C6B}" type="pres">
      <dgm:prSet presAssocID="{CE870AC8-1C9F-49EE-99B4-A96DA80B49DA}" presName="text_3" presStyleLbl="node1" presStyleIdx="2" presStyleCnt="5">
        <dgm:presLayoutVars>
          <dgm:bulletEnabled val="1"/>
        </dgm:presLayoutVars>
      </dgm:prSet>
      <dgm:spPr/>
    </dgm:pt>
    <dgm:pt modelId="{A38594C9-1B09-48DB-9B6C-A22E06554A7B}" type="pres">
      <dgm:prSet presAssocID="{CE870AC8-1C9F-49EE-99B4-A96DA80B49DA}" presName="accent_3" presStyleCnt="0"/>
      <dgm:spPr/>
    </dgm:pt>
    <dgm:pt modelId="{F64E1AF7-41DD-4551-87DD-60EC74C465A5}" type="pres">
      <dgm:prSet presAssocID="{CE870AC8-1C9F-49EE-99B4-A96DA80B49DA}" presName="accentRepeatNode" presStyleLbl="solidFgAcc1" presStyleIdx="2" presStyleCnt="5"/>
      <dgm:spPr>
        <a:ln>
          <a:solidFill>
            <a:schemeClr val="accent1"/>
          </a:solidFill>
        </a:ln>
      </dgm:spPr>
    </dgm:pt>
    <dgm:pt modelId="{F6A48C2A-A963-4729-B9AD-342853E9B17D}" type="pres">
      <dgm:prSet presAssocID="{C868D0FE-9CBE-4772-9B05-1D1D24619163}" presName="text_4" presStyleLbl="node1" presStyleIdx="3" presStyleCnt="5">
        <dgm:presLayoutVars>
          <dgm:bulletEnabled val="1"/>
        </dgm:presLayoutVars>
      </dgm:prSet>
      <dgm:spPr/>
    </dgm:pt>
    <dgm:pt modelId="{9B8CD787-9C69-4857-842C-85F5AB6B972C}" type="pres">
      <dgm:prSet presAssocID="{C868D0FE-9CBE-4772-9B05-1D1D24619163}" presName="accent_4" presStyleCnt="0"/>
      <dgm:spPr/>
    </dgm:pt>
    <dgm:pt modelId="{2AC6F656-1123-4DDA-BF8A-CC14A0622F54}" type="pres">
      <dgm:prSet presAssocID="{C868D0FE-9CBE-4772-9B05-1D1D24619163}" presName="accentRepeatNode" presStyleLbl="solidFgAcc1" presStyleIdx="3" presStyleCnt="5"/>
      <dgm:spPr>
        <a:ln>
          <a:solidFill>
            <a:schemeClr val="accent1"/>
          </a:solidFill>
        </a:ln>
      </dgm:spPr>
    </dgm:pt>
    <dgm:pt modelId="{BE620735-5732-4659-BDC7-8007CC960AB5}" type="pres">
      <dgm:prSet presAssocID="{1EB6D61E-F3D7-4B3A-947A-8DE631E044CB}" presName="text_5" presStyleLbl="node1" presStyleIdx="4" presStyleCnt="5">
        <dgm:presLayoutVars>
          <dgm:bulletEnabled val="1"/>
        </dgm:presLayoutVars>
      </dgm:prSet>
      <dgm:spPr/>
    </dgm:pt>
    <dgm:pt modelId="{6060F5E5-6204-4787-9FD1-335222FC4892}" type="pres">
      <dgm:prSet presAssocID="{1EB6D61E-F3D7-4B3A-947A-8DE631E044CB}" presName="accent_5" presStyleCnt="0"/>
      <dgm:spPr/>
    </dgm:pt>
    <dgm:pt modelId="{47CFF8D8-F883-44B3-B59E-E1C114559696}" type="pres">
      <dgm:prSet presAssocID="{1EB6D61E-F3D7-4B3A-947A-8DE631E044CB}" presName="accentRepeatNode" presStyleLbl="solidFgAcc1" presStyleIdx="4" presStyleCnt="5"/>
      <dgm:spPr>
        <a:ln>
          <a:solidFill>
            <a:schemeClr val="accent1"/>
          </a:solidFill>
        </a:ln>
      </dgm:spPr>
    </dgm:pt>
  </dgm:ptLst>
  <dgm:cxnLst>
    <dgm:cxn modelId="{9E230002-BC54-44AC-A2CB-B4723D1326F0}" type="presOf" srcId="{C868D0FE-9CBE-4772-9B05-1D1D24619163}" destId="{F6A48C2A-A963-4729-B9AD-342853E9B17D}" srcOrd="0" destOrd="0" presId="urn:microsoft.com/office/officeart/2008/layout/VerticalCurvedList"/>
    <dgm:cxn modelId="{4015573F-9102-43DF-8386-B2F019E7738F}" srcId="{B8713712-26E4-4CE0-8E57-C35395496884}" destId="{47373304-BE06-41D4-BFEC-C6D89908061B}" srcOrd="1" destOrd="0" parTransId="{600F1D81-1DFB-4943-ABC7-05947C1DEF05}" sibTransId="{A34BD771-AF9B-4100-8F02-961DDEB34AD0}"/>
    <dgm:cxn modelId="{69A20B4F-7B4B-4C84-9618-D82A5B71EE50}" type="presOf" srcId="{CE870AC8-1C9F-49EE-99B4-A96DA80B49DA}" destId="{5E1C9BD5-4352-4322-B154-43211D8B0C6B}" srcOrd="0" destOrd="0" presId="urn:microsoft.com/office/officeart/2008/layout/VerticalCurvedList"/>
    <dgm:cxn modelId="{52BEC67F-1DE9-4781-99BC-893FC18E69F0}" type="presOf" srcId="{A69193A0-1AB8-42EC-AE36-8028BE129017}" destId="{7B3C19E9-46DA-48E4-B154-F60087E1AF3A}" srcOrd="0" destOrd="0" presId="urn:microsoft.com/office/officeart/2008/layout/VerticalCurvedList"/>
    <dgm:cxn modelId="{E5F1449B-8781-4485-8D9E-D2FD6C940918}" srcId="{B8713712-26E4-4CE0-8E57-C35395496884}" destId="{A4213345-CD76-4F12-9BE2-231227A9DD69}" srcOrd="0" destOrd="0" parTransId="{26F84A22-8172-4180-889C-2F03F40DB013}" sibTransId="{A69193A0-1AB8-42EC-AE36-8028BE129017}"/>
    <dgm:cxn modelId="{FC40C19C-C354-4B30-A70E-CC6D84BACB94}" type="presOf" srcId="{1EB6D61E-F3D7-4B3A-947A-8DE631E044CB}" destId="{BE620735-5732-4659-BDC7-8007CC960AB5}" srcOrd="0" destOrd="0" presId="urn:microsoft.com/office/officeart/2008/layout/VerticalCurvedList"/>
    <dgm:cxn modelId="{BF236EBC-91E2-411C-B439-9A0670F387A8}" srcId="{B8713712-26E4-4CE0-8E57-C35395496884}" destId="{CE870AC8-1C9F-49EE-99B4-A96DA80B49DA}" srcOrd="2" destOrd="0" parTransId="{9C135D8A-D667-428D-AE5F-1EA5F3AEF979}" sibTransId="{0DBCE326-4241-4B63-8287-717326F73C39}"/>
    <dgm:cxn modelId="{2EE536CA-20EB-45B8-A4D5-0965DE65B18C}" type="presOf" srcId="{A4213345-CD76-4F12-9BE2-231227A9DD69}" destId="{5CC2C9BB-9DBB-4FCE-BAC9-AA359F026653}" srcOrd="0" destOrd="0" presId="urn:microsoft.com/office/officeart/2008/layout/VerticalCurvedList"/>
    <dgm:cxn modelId="{5169EAD4-BDC9-4E98-A6FE-7C1EA8EFDB0A}" srcId="{B8713712-26E4-4CE0-8E57-C35395496884}" destId="{1EB6D61E-F3D7-4B3A-947A-8DE631E044CB}" srcOrd="4" destOrd="0" parTransId="{3FD7274D-03C1-44E5-9DA4-3E24E252AC46}" sibTransId="{BA3E40C5-A99F-452A-BF5E-1E54F7071A4F}"/>
    <dgm:cxn modelId="{79FD1EFB-C6FF-430D-B216-69A7EB06588C}" srcId="{B8713712-26E4-4CE0-8E57-C35395496884}" destId="{C868D0FE-9CBE-4772-9B05-1D1D24619163}" srcOrd="3" destOrd="0" parTransId="{488DD68C-749E-4B39-8E3A-79CCE86DD6AF}" sibTransId="{24E5EA67-942C-43D6-B2A8-4206EDCC0DA5}"/>
    <dgm:cxn modelId="{AD3624FD-06EC-4B08-A79B-267F8548B55B}" type="presOf" srcId="{B8713712-26E4-4CE0-8E57-C35395496884}" destId="{52F68E0E-C73F-4E30-B883-8952230BA580}" srcOrd="0" destOrd="0" presId="urn:microsoft.com/office/officeart/2008/layout/VerticalCurvedList"/>
    <dgm:cxn modelId="{092116FE-1F10-43F0-9B95-C48205FE4448}" type="presOf" srcId="{47373304-BE06-41D4-BFEC-C6D89908061B}" destId="{299F9892-5E69-4F70-A1AC-773B6483332B}" srcOrd="0" destOrd="0" presId="urn:microsoft.com/office/officeart/2008/layout/VerticalCurvedList"/>
    <dgm:cxn modelId="{93054F24-82B4-412F-8764-BC41BFDDF046}" type="presParOf" srcId="{52F68E0E-C73F-4E30-B883-8952230BA580}" destId="{B5BDE08F-1BA8-4DC4-A52E-44DBE71AF20F}" srcOrd="0" destOrd="0" presId="urn:microsoft.com/office/officeart/2008/layout/VerticalCurvedList"/>
    <dgm:cxn modelId="{C0A46063-1F97-4656-BE6F-B0C5ACD35DB9}" type="presParOf" srcId="{B5BDE08F-1BA8-4DC4-A52E-44DBE71AF20F}" destId="{9CC8381D-26BF-437D-98EA-CEF384AF324A}" srcOrd="0" destOrd="0" presId="urn:microsoft.com/office/officeart/2008/layout/VerticalCurvedList"/>
    <dgm:cxn modelId="{88704771-C927-455F-BF30-7B917CB73743}" type="presParOf" srcId="{9CC8381D-26BF-437D-98EA-CEF384AF324A}" destId="{A7B46151-E8B5-44AD-B7F5-8366930B27E0}" srcOrd="0" destOrd="0" presId="urn:microsoft.com/office/officeart/2008/layout/VerticalCurvedList"/>
    <dgm:cxn modelId="{CC4EDFD0-6008-45D2-A3FA-E69C8823D9A5}" type="presParOf" srcId="{9CC8381D-26BF-437D-98EA-CEF384AF324A}" destId="{7B3C19E9-46DA-48E4-B154-F60087E1AF3A}" srcOrd="1" destOrd="0" presId="urn:microsoft.com/office/officeart/2008/layout/VerticalCurvedList"/>
    <dgm:cxn modelId="{39FFCB89-07B6-48C2-A4FB-FEBCA14F9ADF}" type="presParOf" srcId="{9CC8381D-26BF-437D-98EA-CEF384AF324A}" destId="{9414ECB3-DBF0-4EEA-923A-6DFD785D8907}" srcOrd="2" destOrd="0" presId="urn:microsoft.com/office/officeart/2008/layout/VerticalCurvedList"/>
    <dgm:cxn modelId="{CB6285C1-0D1A-46C5-BCEF-6C5C0DFC5604}" type="presParOf" srcId="{9CC8381D-26BF-437D-98EA-CEF384AF324A}" destId="{91658182-BDB3-4C6A-8E3E-70BB99E187D0}" srcOrd="3" destOrd="0" presId="urn:microsoft.com/office/officeart/2008/layout/VerticalCurvedList"/>
    <dgm:cxn modelId="{3DFDE49B-F8E2-41C3-AB15-B795A34A5C71}" type="presParOf" srcId="{B5BDE08F-1BA8-4DC4-A52E-44DBE71AF20F}" destId="{5CC2C9BB-9DBB-4FCE-BAC9-AA359F026653}" srcOrd="1" destOrd="0" presId="urn:microsoft.com/office/officeart/2008/layout/VerticalCurvedList"/>
    <dgm:cxn modelId="{F74A353C-C238-479B-979C-FF3ACC85772B}" type="presParOf" srcId="{B5BDE08F-1BA8-4DC4-A52E-44DBE71AF20F}" destId="{046B40C3-A7A4-4D47-A494-A41E2BCB22BF}" srcOrd="2" destOrd="0" presId="urn:microsoft.com/office/officeart/2008/layout/VerticalCurvedList"/>
    <dgm:cxn modelId="{B967D0B6-AD8A-4950-8D5A-473DA7D7BFC5}" type="presParOf" srcId="{046B40C3-A7A4-4D47-A494-A41E2BCB22BF}" destId="{CABD8E68-C9D2-4F18-86BB-662CC0944406}" srcOrd="0" destOrd="0" presId="urn:microsoft.com/office/officeart/2008/layout/VerticalCurvedList"/>
    <dgm:cxn modelId="{662954AE-2215-4C12-B8A6-E5390175B585}" type="presParOf" srcId="{B5BDE08F-1BA8-4DC4-A52E-44DBE71AF20F}" destId="{299F9892-5E69-4F70-A1AC-773B6483332B}" srcOrd="3" destOrd="0" presId="urn:microsoft.com/office/officeart/2008/layout/VerticalCurvedList"/>
    <dgm:cxn modelId="{F10319BE-B9CC-4420-AA57-11E6416640D7}" type="presParOf" srcId="{B5BDE08F-1BA8-4DC4-A52E-44DBE71AF20F}" destId="{71E510CC-95CA-447F-B19D-00C960C587E9}" srcOrd="4" destOrd="0" presId="urn:microsoft.com/office/officeart/2008/layout/VerticalCurvedList"/>
    <dgm:cxn modelId="{DCD5239E-AE49-4109-A97A-721DA05CDA6A}" type="presParOf" srcId="{71E510CC-95CA-447F-B19D-00C960C587E9}" destId="{16263135-E944-4FC3-AF73-2C74F72F337C}" srcOrd="0" destOrd="0" presId="urn:microsoft.com/office/officeart/2008/layout/VerticalCurvedList"/>
    <dgm:cxn modelId="{020A9412-8F39-44C7-847B-FADBADD62646}" type="presParOf" srcId="{B5BDE08F-1BA8-4DC4-A52E-44DBE71AF20F}" destId="{5E1C9BD5-4352-4322-B154-43211D8B0C6B}" srcOrd="5" destOrd="0" presId="urn:microsoft.com/office/officeart/2008/layout/VerticalCurvedList"/>
    <dgm:cxn modelId="{0785BF37-84C5-4D88-ADAB-A8F35C101418}" type="presParOf" srcId="{B5BDE08F-1BA8-4DC4-A52E-44DBE71AF20F}" destId="{A38594C9-1B09-48DB-9B6C-A22E06554A7B}" srcOrd="6" destOrd="0" presId="urn:microsoft.com/office/officeart/2008/layout/VerticalCurvedList"/>
    <dgm:cxn modelId="{A1C65F1F-B708-4F6F-8588-196FABBB176D}" type="presParOf" srcId="{A38594C9-1B09-48DB-9B6C-A22E06554A7B}" destId="{F64E1AF7-41DD-4551-87DD-60EC74C465A5}" srcOrd="0" destOrd="0" presId="urn:microsoft.com/office/officeart/2008/layout/VerticalCurvedList"/>
    <dgm:cxn modelId="{FF88DE11-D483-41C2-AE02-4363CEB62977}" type="presParOf" srcId="{B5BDE08F-1BA8-4DC4-A52E-44DBE71AF20F}" destId="{F6A48C2A-A963-4729-B9AD-342853E9B17D}" srcOrd="7" destOrd="0" presId="urn:microsoft.com/office/officeart/2008/layout/VerticalCurvedList"/>
    <dgm:cxn modelId="{EDF98505-8907-462B-9142-AB98D7A96A38}" type="presParOf" srcId="{B5BDE08F-1BA8-4DC4-A52E-44DBE71AF20F}" destId="{9B8CD787-9C69-4857-842C-85F5AB6B972C}" srcOrd="8" destOrd="0" presId="urn:microsoft.com/office/officeart/2008/layout/VerticalCurvedList"/>
    <dgm:cxn modelId="{0399CF91-22D9-4869-86A7-3C03381D4115}" type="presParOf" srcId="{9B8CD787-9C69-4857-842C-85F5AB6B972C}" destId="{2AC6F656-1123-4DDA-BF8A-CC14A0622F54}" srcOrd="0" destOrd="0" presId="urn:microsoft.com/office/officeart/2008/layout/VerticalCurvedList"/>
    <dgm:cxn modelId="{FF2A88DC-91EC-4D89-B1D5-F6E42472BB83}" type="presParOf" srcId="{B5BDE08F-1BA8-4DC4-A52E-44DBE71AF20F}" destId="{BE620735-5732-4659-BDC7-8007CC960AB5}" srcOrd="9" destOrd="0" presId="urn:microsoft.com/office/officeart/2008/layout/VerticalCurvedList"/>
    <dgm:cxn modelId="{688742D5-A597-4091-B521-3A47657A7B44}" type="presParOf" srcId="{B5BDE08F-1BA8-4DC4-A52E-44DBE71AF20F}" destId="{6060F5E5-6204-4787-9FD1-335222FC4892}" srcOrd="10" destOrd="0" presId="urn:microsoft.com/office/officeart/2008/layout/VerticalCurvedList"/>
    <dgm:cxn modelId="{4FFA0CE1-0A4D-4C4F-B5B8-38121FE09558}" type="presParOf" srcId="{6060F5E5-6204-4787-9FD1-335222FC4892}" destId="{47CFF8D8-F883-44B3-B59E-E1C114559696}"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E783C4-8DDC-4474-BF87-383D250B1482}">
      <dsp:nvSpPr>
        <dsp:cNvPr id="0" name=""/>
        <dsp:cNvSpPr/>
      </dsp:nvSpPr>
      <dsp:spPr>
        <a:xfrm>
          <a:off x="-5180139" y="-793465"/>
          <a:ext cx="6168708" cy="6168708"/>
        </a:xfrm>
        <a:prstGeom prst="blockArc">
          <a:avLst>
            <a:gd name="adj1" fmla="val 18900000"/>
            <a:gd name="adj2" fmla="val 2700000"/>
            <a:gd name="adj3" fmla="val 350"/>
          </a:avLst>
        </a:pr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F7344B8E-A024-4651-9EE8-4CDF4862A73A}">
      <dsp:nvSpPr>
        <dsp:cNvPr id="0" name=""/>
        <dsp:cNvSpPr/>
      </dsp:nvSpPr>
      <dsp:spPr>
        <a:xfrm>
          <a:off x="517605" y="352247"/>
          <a:ext cx="7734971"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rtl="0">
            <a:lnSpc>
              <a:spcPct val="90000"/>
            </a:lnSpc>
            <a:spcBef>
              <a:spcPct val="0"/>
            </a:spcBef>
            <a:spcAft>
              <a:spcPct val="35000"/>
            </a:spcAft>
            <a:buFont typeface="Arial" panose="020B0604020202020204" pitchFamily="34" charset="0"/>
            <a:buNone/>
          </a:pPr>
          <a:r>
            <a:rPr lang="en-US" sz="1600" kern="1200">
              <a:solidFill>
                <a:schemeClr val="tx1"/>
              </a:solidFill>
            </a:rPr>
            <a:t>Pre-built FP&amp;A processes based on best practices</a:t>
          </a:r>
          <a:endParaRPr lang="en-US" sz="1600" kern="1200">
            <a:solidFill>
              <a:schemeClr val="tx1"/>
            </a:solidFill>
            <a:effectLst/>
            <a:latin typeface="Montserrat"/>
          </a:endParaRPr>
        </a:p>
      </dsp:txBody>
      <dsp:txXfrm>
        <a:off x="517605" y="352247"/>
        <a:ext cx="7734971" cy="704860"/>
      </dsp:txXfrm>
    </dsp:sp>
    <dsp:sp modelId="{5417E955-16B0-468F-885A-BC5863E05EDC}">
      <dsp:nvSpPr>
        <dsp:cNvPr id="0" name=""/>
        <dsp:cNvSpPr/>
      </dsp:nvSpPr>
      <dsp:spPr>
        <a:xfrm>
          <a:off x="71974" y="259601"/>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E7C13A-4EFC-43EE-A7A2-8A58F08B4C65}">
      <dsp:nvSpPr>
        <dsp:cNvPr id="0" name=""/>
        <dsp:cNvSpPr/>
      </dsp:nvSpPr>
      <dsp:spPr>
        <a:xfrm>
          <a:off x="921717" y="1409721"/>
          <a:ext cx="7330858"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Rapid deployment due to 80% - 90% process pre-built solution</a:t>
          </a:r>
          <a:endParaRPr lang="en-US" sz="1600" kern="1200">
            <a:solidFill>
              <a:schemeClr val="tx1"/>
            </a:solidFill>
            <a:effectLst/>
            <a:latin typeface="Montserrat"/>
          </a:endParaRPr>
        </a:p>
      </dsp:txBody>
      <dsp:txXfrm>
        <a:off x="921717" y="1409721"/>
        <a:ext cx="7330858" cy="704860"/>
      </dsp:txXfrm>
    </dsp:sp>
    <dsp:sp modelId="{EDF276A6-CBD3-40C3-9EDD-CE1B34D59549}">
      <dsp:nvSpPr>
        <dsp:cNvPr id="0" name=""/>
        <dsp:cNvSpPr/>
      </dsp:nvSpPr>
      <dsp:spPr>
        <a:xfrm>
          <a:off x="481179" y="1321613"/>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23FB07-4E81-4D63-BD79-F362D1CA5830}">
      <dsp:nvSpPr>
        <dsp:cNvPr id="0" name=""/>
        <dsp:cNvSpPr/>
      </dsp:nvSpPr>
      <dsp:spPr>
        <a:xfrm>
          <a:off x="921717" y="2467195"/>
          <a:ext cx="7330858"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Demo ready to get real time FP&amp;A automation experience</a:t>
          </a:r>
          <a:endParaRPr lang="en-US" sz="1600" kern="1200">
            <a:solidFill>
              <a:schemeClr val="tx1"/>
            </a:solidFill>
            <a:effectLst/>
            <a:latin typeface="Montserrat"/>
          </a:endParaRPr>
        </a:p>
      </dsp:txBody>
      <dsp:txXfrm>
        <a:off x="921717" y="2467195"/>
        <a:ext cx="7330858" cy="704860"/>
      </dsp:txXfrm>
    </dsp:sp>
    <dsp:sp modelId="{B1A7C1C1-5363-4C3A-AB88-81C676D135C4}">
      <dsp:nvSpPr>
        <dsp:cNvPr id="0" name=""/>
        <dsp:cNvSpPr/>
      </dsp:nvSpPr>
      <dsp:spPr>
        <a:xfrm>
          <a:off x="481179" y="2379087"/>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378CF6-52D1-43F9-97EE-34D13933D423}">
      <dsp:nvSpPr>
        <dsp:cNvPr id="0" name=""/>
        <dsp:cNvSpPr/>
      </dsp:nvSpPr>
      <dsp:spPr>
        <a:xfrm>
          <a:off x="517605" y="3524669"/>
          <a:ext cx="7734971"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Built on the SAP Analytics Cloud platform (SAP SaaS)</a:t>
          </a:r>
          <a:endParaRPr lang="en-US" sz="1600" kern="1200">
            <a:solidFill>
              <a:schemeClr val="tx1"/>
            </a:solidFill>
            <a:effectLst/>
            <a:latin typeface="Montserrat"/>
          </a:endParaRPr>
        </a:p>
      </dsp:txBody>
      <dsp:txXfrm>
        <a:off x="517605" y="3524669"/>
        <a:ext cx="7734971" cy="704860"/>
      </dsp:txXfrm>
    </dsp:sp>
    <dsp:sp modelId="{AACFF315-CFA5-475F-9639-B37E6B5788F2}">
      <dsp:nvSpPr>
        <dsp:cNvPr id="0" name=""/>
        <dsp:cNvSpPr/>
      </dsp:nvSpPr>
      <dsp:spPr>
        <a:xfrm>
          <a:off x="77067" y="3436561"/>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E783C4-8DDC-4474-BF87-383D250B1482}">
      <dsp:nvSpPr>
        <dsp:cNvPr id="0" name=""/>
        <dsp:cNvSpPr/>
      </dsp:nvSpPr>
      <dsp:spPr>
        <a:xfrm>
          <a:off x="-5318749" y="-814538"/>
          <a:ext cx="6333367" cy="6333367"/>
        </a:xfrm>
        <a:prstGeom prst="blockArc">
          <a:avLst>
            <a:gd name="adj1" fmla="val 18900000"/>
            <a:gd name="adj2" fmla="val 2700000"/>
            <a:gd name="adj3" fmla="val 341"/>
          </a:avLst>
        </a:pr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F7344B8E-A024-4651-9EE8-4CDF4862A73A}">
      <dsp:nvSpPr>
        <dsp:cNvPr id="0" name=""/>
        <dsp:cNvSpPr/>
      </dsp:nvSpPr>
      <dsp:spPr>
        <a:xfrm>
          <a:off x="378315" y="247727"/>
          <a:ext cx="8292996"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US" sz="1500" kern="1200">
              <a:solidFill>
                <a:schemeClr val="tx1"/>
              </a:solidFill>
              <a:latin typeface="Montserrat"/>
            </a:rPr>
            <a:t>Built as a </a:t>
          </a:r>
          <a:r>
            <a:rPr lang="en-US" sz="1500" b="1" kern="1200">
              <a:solidFill>
                <a:schemeClr val="tx1"/>
              </a:solidFill>
              <a:latin typeface="Montserrat"/>
            </a:rPr>
            <a:t>one size fits all</a:t>
          </a:r>
          <a:r>
            <a:rPr lang="en-US" sz="1500" kern="1200">
              <a:solidFill>
                <a:schemeClr val="tx1"/>
              </a:solidFill>
              <a:latin typeface="Montserrat"/>
            </a:rPr>
            <a:t> FP&amp;A Solutions </a:t>
          </a:r>
          <a:endParaRPr lang="en-US" sz="1500" kern="1200">
            <a:solidFill>
              <a:schemeClr val="tx1"/>
            </a:solidFill>
            <a:effectLst/>
            <a:latin typeface="Montserrat"/>
          </a:endParaRPr>
        </a:p>
      </dsp:txBody>
      <dsp:txXfrm>
        <a:off x="378315" y="247727"/>
        <a:ext cx="8292996" cy="495267"/>
      </dsp:txXfrm>
    </dsp:sp>
    <dsp:sp modelId="{5417E955-16B0-468F-885A-BC5863E05EDC}">
      <dsp:nvSpPr>
        <dsp:cNvPr id="0" name=""/>
        <dsp:cNvSpPr/>
      </dsp:nvSpPr>
      <dsp:spPr>
        <a:xfrm>
          <a:off x="65194" y="182631"/>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28D624-1301-43D5-BCD7-611B661930EE}">
      <dsp:nvSpPr>
        <dsp:cNvPr id="0" name=""/>
        <dsp:cNvSpPr/>
      </dsp:nvSpPr>
      <dsp:spPr>
        <a:xfrm>
          <a:off x="785706" y="990535"/>
          <a:ext cx="788560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a:lnSpc>
              <a:spcPct val="90000"/>
            </a:lnSpc>
            <a:spcBef>
              <a:spcPct val="0"/>
            </a:spcBef>
            <a:spcAft>
              <a:spcPct val="35000"/>
            </a:spcAft>
            <a:buNone/>
          </a:pPr>
          <a:r>
            <a:rPr lang="en-CA" sz="1500" kern="1200">
              <a:solidFill>
                <a:srgbClr val="000000"/>
              </a:solidFill>
              <a:effectLst/>
              <a:ea typeface="Times New Roman" panose="02020603050405020304" pitchFamily="18" charset="0"/>
            </a:rPr>
            <a:t>Short implementation cycles </a:t>
          </a:r>
          <a:r>
            <a:rPr lang="en-CA" sz="1500" b="1" kern="1200">
              <a:solidFill>
                <a:srgbClr val="000000"/>
              </a:solidFill>
              <a:effectLst/>
              <a:ea typeface="Times New Roman" panose="02020603050405020304" pitchFamily="18" charset="0"/>
            </a:rPr>
            <a:t>(8 – 16 weeks)</a:t>
          </a:r>
          <a:r>
            <a:rPr lang="en-CA" sz="1500" b="1" kern="1200">
              <a:solidFill>
                <a:schemeClr val="tx1"/>
              </a:solidFill>
              <a:effectLst/>
              <a:latin typeface="Montserrat"/>
            </a:rPr>
            <a:t> </a:t>
          </a:r>
          <a:endParaRPr lang="en-US" sz="1500" b="1" kern="1200"/>
        </a:p>
      </dsp:txBody>
      <dsp:txXfrm>
        <a:off x="785706" y="990535"/>
        <a:ext cx="7885604" cy="495267"/>
      </dsp:txXfrm>
    </dsp:sp>
    <dsp:sp modelId="{CDCEB48B-8AE3-4BBF-94B3-F7243304A62D}">
      <dsp:nvSpPr>
        <dsp:cNvPr id="0" name=""/>
        <dsp:cNvSpPr/>
      </dsp:nvSpPr>
      <dsp:spPr>
        <a:xfrm>
          <a:off x="476164" y="928627"/>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39B18E-2E11-4AEA-B25E-D81E298E3422}">
      <dsp:nvSpPr>
        <dsp:cNvPr id="0" name=""/>
        <dsp:cNvSpPr/>
      </dsp:nvSpPr>
      <dsp:spPr>
        <a:xfrm>
          <a:off x="971996" y="1733343"/>
          <a:ext cx="769931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None/>
          </a:pPr>
          <a:r>
            <a:rPr lang="en-CA" sz="1500" kern="1200">
              <a:solidFill>
                <a:srgbClr val="000000"/>
              </a:solidFill>
              <a:effectLst/>
              <a:latin typeface="Montserrat"/>
              <a:ea typeface="Times New Roman" panose="02020603050405020304" pitchFamily="18" charset="0"/>
            </a:rPr>
            <a:t>Present SAC as</a:t>
          </a:r>
          <a:r>
            <a:rPr lang="en-CA" sz="1500" kern="1200">
              <a:solidFill>
                <a:srgbClr val="000000"/>
              </a:solidFill>
              <a:effectLst/>
              <a:ea typeface="Times New Roman" panose="02020603050405020304" pitchFamily="18" charset="0"/>
            </a:rPr>
            <a:t> a planning and budgeting tool </a:t>
          </a:r>
          <a:r>
            <a:rPr lang="en-CA" sz="1500" kern="1200">
              <a:solidFill>
                <a:srgbClr val="000000"/>
              </a:solidFill>
              <a:effectLst/>
              <a:latin typeface="Montserrat"/>
              <a:ea typeface="Times New Roman" panose="02020603050405020304" pitchFamily="18" charset="0"/>
            </a:rPr>
            <a:t>and</a:t>
          </a:r>
          <a:r>
            <a:rPr lang="en-CA" sz="1500" kern="1200">
              <a:solidFill>
                <a:srgbClr val="000000"/>
              </a:solidFill>
              <a:effectLst/>
              <a:ea typeface="Times New Roman" panose="02020603050405020304" pitchFamily="18" charset="0"/>
            </a:rPr>
            <a:t> business application development tool</a:t>
          </a:r>
          <a:endParaRPr lang="en-CA" sz="1500" kern="1200">
            <a:solidFill>
              <a:srgbClr val="000000"/>
            </a:solidFill>
            <a:ea typeface="Times New Roman" panose="02020603050405020304" pitchFamily="18" charset="0"/>
          </a:endParaRPr>
        </a:p>
      </dsp:txBody>
      <dsp:txXfrm>
        <a:off x="971996" y="1733343"/>
        <a:ext cx="7699314" cy="495267"/>
      </dsp:txXfrm>
    </dsp:sp>
    <dsp:sp modelId="{6744D551-E43F-4842-A9CF-E9FD875A807D}">
      <dsp:nvSpPr>
        <dsp:cNvPr id="0" name=""/>
        <dsp:cNvSpPr/>
      </dsp:nvSpPr>
      <dsp:spPr>
        <a:xfrm>
          <a:off x="662454" y="1671434"/>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6C3B02-BF0A-4A59-B4C0-D5B8DAB6D27B}">
      <dsp:nvSpPr>
        <dsp:cNvPr id="0" name=""/>
        <dsp:cNvSpPr/>
      </dsp:nvSpPr>
      <dsp:spPr>
        <a:xfrm>
          <a:off x="971996" y="2475680"/>
          <a:ext cx="769931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CA" sz="1500" kern="1200">
              <a:solidFill>
                <a:srgbClr val="000000"/>
              </a:solidFill>
              <a:effectLst/>
              <a:ea typeface="Times New Roman" panose="02020603050405020304" pitchFamily="18" charset="0"/>
            </a:rPr>
            <a:t>Showcase SAC as a viable replacement of Excel and other manual planning tools</a:t>
          </a:r>
          <a:r>
            <a:rPr lang="en-CA" sz="1500" kern="1200">
              <a:solidFill>
                <a:srgbClr val="000000"/>
              </a:solidFill>
              <a:effectLst/>
              <a:latin typeface="Montserrat"/>
              <a:ea typeface="Times New Roman" panose="02020603050405020304" pitchFamily="18" charset="0"/>
            </a:rPr>
            <a:t> </a:t>
          </a:r>
          <a:r>
            <a:rPr lang="en-CA" sz="1500" kern="1200">
              <a:effectLst/>
              <a:latin typeface="Montserrat"/>
            </a:rPr>
            <a:t> </a:t>
          </a:r>
          <a:endParaRPr lang="en-US" sz="1500" kern="1200"/>
        </a:p>
      </dsp:txBody>
      <dsp:txXfrm>
        <a:off x="971996" y="2475680"/>
        <a:ext cx="7699314" cy="495267"/>
      </dsp:txXfrm>
    </dsp:sp>
    <dsp:sp modelId="{001193C0-1665-4B74-B586-A75D2CB35E92}">
      <dsp:nvSpPr>
        <dsp:cNvPr id="0" name=""/>
        <dsp:cNvSpPr/>
      </dsp:nvSpPr>
      <dsp:spPr>
        <a:xfrm>
          <a:off x="662454" y="2413771"/>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4FD80A-7214-4895-8E8D-4B1BD65089C5}">
      <dsp:nvSpPr>
        <dsp:cNvPr id="0" name=""/>
        <dsp:cNvSpPr/>
      </dsp:nvSpPr>
      <dsp:spPr>
        <a:xfrm>
          <a:off x="785706" y="3218487"/>
          <a:ext cx="788560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CA" sz="1500" kern="1200">
              <a:solidFill>
                <a:schemeClr val="tx1"/>
              </a:solidFill>
              <a:effectLst/>
              <a:latin typeface="Montserrat"/>
              <a:ea typeface="Times New Roman" panose="02020603050405020304" pitchFamily="18" charset="0"/>
            </a:rPr>
            <a:t>In advance 80</a:t>
          </a:r>
          <a:r>
            <a:rPr lang="en-CA" sz="1500" kern="1200">
              <a:solidFill>
                <a:schemeClr val="tx1"/>
              </a:solidFill>
              <a:effectLst/>
              <a:ea typeface="Times New Roman" panose="02020603050405020304" pitchFamily="18" charset="0"/>
            </a:rPr>
            <a:t>% - 90% of standard planning processes to </a:t>
          </a:r>
          <a:r>
            <a:rPr lang="en-CA" sz="1500" b="1" kern="1200">
              <a:solidFill>
                <a:schemeClr val="tx1"/>
              </a:solidFill>
              <a:effectLst/>
              <a:ea typeface="Times New Roman" panose="02020603050405020304" pitchFamily="18" charset="0"/>
            </a:rPr>
            <a:t>reduce</a:t>
          </a:r>
          <a:r>
            <a:rPr lang="en-CA" sz="1500" b="1" kern="1200">
              <a:solidFill>
                <a:schemeClr val="tx1"/>
              </a:solidFill>
              <a:effectLst/>
              <a:latin typeface="Montserrat"/>
            </a:rPr>
            <a:t> implementation cost</a:t>
          </a:r>
          <a:r>
            <a:rPr lang="en-CA" sz="1500" b="1" kern="1200">
              <a:solidFill>
                <a:schemeClr val="tx1"/>
              </a:solidFill>
              <a:latin typeface="Montserrat"/>
            </a:rPr>
            <a:t> significantly</a:t>
          </a:r>
          <a:endParaRPr lang="en-US" sz="1500" b="1" kern="1200">
            <a:solidFill>
              <a:schemeClr val="tx1"/>
            </a:solidFill>
          </a:endParaRPr>
        </a:p>
      </dsp:txBody>
      <dsp:txXfrm>
        <a:off x="785706" y="3218487"/>
        <a:ext cx="7885604" cy="495267"/>
      </dsp:txXfrm>
    </dsp:sp>
    <dsp:sp modelId="{C65C180D-69D8-429B-878E-836E2CDAD956}">
      <dsp:nvSpPr>
        <dsp:cNvPr id="0" name=""/>
        <dsp:cNvSpPr/>
      </dsp:nvSpPr>
      <dsp:spPr>
        <a:xfrm>
          <a:off x="476164" y="3156579"/>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B607E9-65AD-48A1-80C1-5B50D18C281E}">
      <dsp:nvSpPr>
        <dsp:cNvPr id="0" name=""/>
        <dsp:cNvSpPr/>
      </dsp:nvSpPr>
      <dsp:spPr>
        <a:xfrm>
          <a:off x="378315" y="3961295"/>
          <a:ext cx="8292996"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None/>
          </a:pPr>
          <a:r>
            <a:rPr lang="en-CA" sz="1500" b="0" kern="1200">
              <a:solidFill>
                <a:schemeClr val="tx1"/>
              </a:solidFill>
              <a:latin typeface="Montserrat"/>
            </a:rPr>
            <a:t>SAP SAC as a service provides flexible licencing options</a:t>
          </a:r>
        </a:p>
      </dsp:txBody>
      <dsp:txXfrm>
        <a:off x="378315" y="3961295"/>
        <a:ext cx="8292996" cy="495267"/>
      </dsp:txXfrm>
    </dsp:sp>
    <dsp:sp modelId="{2ECCA4C2-F908-4D9B-9558-DFE3717F38C3}">
      <dsp:nvSpPr>
        <dsp:cNvPr id="0" name=""/>
        <dsp:cNvSpPr/>
      </dsp:nvSpPr>
      <dsp:spPr>
        <a:xfrm>
          <a:off x="68773" y="3899386"/>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88814B-CC06-4B9C-9D5C-96649990F928}">
      <dsp:nvSpPr>
        <dsp:cNvPr id="0" name=""/>
        <dsp:cNvSpPr/>
      </dsp:nvSpPr>
      <dsp:spPr>
        <a:xfrm>
          <a:off x="0" y="26921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F23690-240E-407E-BD7E-1FD215A7CC1B}">
      <dsp:nvSpPr>
        <dsp:cNvPr id="0" name=""/>
        <dsp:cNvSpPr/>
      </dsp:nvSpPr>
      <dsp:spPr>
        <a:xfrm>
          <a:off x="430760" y="13637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 </a:t>
          </a:r>
          <a:r>
            <a:rPr lang="en-US" sz="900" kern="1200" dirty="0"/>
            <a:t>Obligation</a:t>
          </a:r>
          <a:r>
            <a:rPr lang="en-US" sz="900" kern="1200" dirty="0">
              <a:latin typeface="Montserrat"/>
            </a:rPr>
            <a:t> Management</a:t>
          </a:r>
          <a:endParaRPr lang="en-US" sz="900" kern="1200" dirty="0"/>
        </a:p>
      </dsp:txBody>
      <dsp:txXfrm>
        <a:off x="443729" y="149340"/>
        <a:ext cx="6004714" cy="239742"/>
      </dsp:txXfrm>
    </dsp:sp>
    <dsp:sp modelId="{22AB171B-FA7F-4AEA-BA08-B36C3B3A5A99}">
      <dsp:nvSpPr>
        <dsp:cNvPr id="0" name=""/>
        <dsp:cNvSpPr/>
      </dsp:nvSpPr>
      <dsp:spPr>
        <a:xfrm>
          <a:off x="0" y="67745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38EC23-42A6-4858-AF98-0F9194799340}">
      <dsp:nvSpPr>
        <dsp:cNvPr id="0" name=""/>
        <dsp:cNvSpPr/>
      </dsp:nvSpPr>
      <dsp:spPr>
        <a:xfrm>
          <a:off x="430760" y="54461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Cost Estimates</a:t>
          </a:r>
          <a:endParaRPr lang="en-US" sz="900" kern="1200" dirty="0"/>
        </a:p>
      </dsp:txBody>
      <dsp:txXfrm>
        <a:off x="443729" y="557580"/>
        <a:ext cx="6004714" cy="239742"/>
      </dsp:txXfrm>
    </dsp:sp>
    <dsp:sp modelId="{030ABBF2-F3D3-4F9F-991F-7A17DB659FA0}">
      <dsp:nvSpPr>
        <dsp:cNvPr id="0" name=""/>
        <dsp:cNvSpPr/>
      </dsp:nvSpPr>
      <dsp:spPr>
        <a:xfrm>
          <a:off x="0" y="108569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F4900F-E643-4AE3-8971-FC7E549D6017}">
      <dsp:nvSpPr>
        <dsp:cNvPr id="0" name=""/>
        <dsp:cNvSpPr/>
      </dsp:nvSpPr>
      <dsp:spPr>
        <a:xfrm>
          <a:off x="430760" y="95285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Future Value &amp; NPV</a:t>
          </a:r>
          <a:endParaRPr lang="en-US" sz="900" kern="1200" dirty="0"/>
        </a:p>
      </dsp:txBody>
      <dsp:txXfrm>
        <a:off x="443729" y="965820"/>
        <a:ext cx="6004714" cy="239742"/>
      </dsp:txXfrm>
    </dsp:sp>
    <dsp:sp modelId="{51B02118-FB98-4C53-AEE4-EE560801FFA3}">
      <dsp:nvSpPr>
        <dsp:cNvPr id="0" name=""/>
        <dsp:cNvSpPr/>
      </dsp:nvSpPr>
      <dsp:spPr>
        <a:xfrm>
          <a:off x="0" y="149393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B4EC75-BD0F-493F-A627-EE4A6BEBBF5E}">
      <dsp:nvSpPr>
        <dsp:cNvPr id="0" name=""/>
        <dsp:cNvSpPr/>
      </dsp:nvSpPr>
      <dsp:spPr>
        <a:xfrm>
          <a:off x="430760" y="136109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Depreciation Calculation</a:t>
          </a:r>
          <a:endParaRPr lang="en-US" sz="900" kern="1200" dirty="0"/>
        </a:p>
      </dsp:txBody>
      <dsp:txXfrm>
        <a:off x="443729" y="1374060"/>
        <a:ext cx="6004714" cy="239742"/>
      </dsp:txXfrm>
    </dsp:sp>
    <dsp:sp modelId="{AF97554B-ED68-457E-B5B2-BA201597C596}">
      <dsp:nvSpPr>
        <dsp:cNvPr id="0" name=""/>
        <dsp:cNvSpPr/>
      </dsp:nvSpPr>
      <dsp:spPr>
        <a:xfrm>
          <a:off x="0" y="190217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B25B2A-5AC0-4A4E-8BCB-7CBDB516E254}">
      <dsp:nvSpPr>
        <dsp:cNvPr id="0" name=""/>
        <dsp:cNvSpPr/>
      </dsp:nvSpPr>
      <dsp:spPr>
        <a:xfrm>
          <a:off x="430760" y="176933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t>Cashflow</a:t>
          </a:r>
          <a:r>
            <a:rPr lang="en-US" sz="900" kern="1200" dirty="0">
              <a:latin typeface="Montserrat"/>
            </a:rPr>
            <a:t> Generation</a:t>
          </a:r>
          <a:endParaRPr lang="en-US" sz="900" kern="1200" dirty="0"/>
        </a:p>
      </dsp:txBody>
      <dsp:txXfrm>
        <a:off x="443729" y="1782300"/>
        <a:ext cx="6004714" cy="239742"/>
      </dsp:txXfrm>
    </dsp:sp>
    <dsp:sp modelId="{1558F93D-EAC0-45E5-899D-897DCBBBE5F5}">
      <dsp:nvSpPr>
        <dsp:cNvPr id="0" name=""/>
        <dsp:cNvSpPr/>
      </dsp:nvSpPr>
      <dsp:spPr>
        <a:xfrm>
          <a:off x="0" y="2310411"/>
          <a:ext cx="8615218" cy="82215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8637" tIns="187452" rIns="668637"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latin typeface="Montserrat"/>
            </a:rPr>
            <a:t>Obligation</a:t>
          </a:r>
        </a:p>
        <a:p>
          <a:pPr marL="57150" lvl="1" indent="-57150" algn="l" defTabSz="400050">
            <a:lnSpc>
              <a:spcPct val="90000"/>
            </a:lnSpc>
            <a:spcBef>
              <a:spcPct val="0"/>
            </a:spcBef>
            <a:spcAft>
              <a:spcPct val="15000"/>
            </a:spcAft>
            <a:buChar char="•"/>
          </a:pPr>
          <a:r>
            <a:rPr lang="en-US" sz="900" kern="1200" dirty="0">
              <a:latin typeface="Montserrat"/>
            </a:rPr>
            <a:t>Asset</a:t>
          </a:r>
        </a:p>
        <a:p>
          <a:pPr marL="57150" lvl="1" indent="-57150" algn="l" defTabSz="400050" rtl="0">
            <a:lnSpc>
              <a:spcPct val="90000"/>
            </a:lnSpc>
            <a:spcBef>
              <a:spcPct val="0"/>
            </a:spcBef>
            <a:spcAft>
              <a:spcPct val="15000"/>
            </a:spcAft>
            <a:buChar char="•"/>
          </a:pPr>
          <a:r>
            <a:rPr lang="en-US" sz="900" kern="1200" dirty="0">
              <a:latin typeface="Montserrat"/>
            </a:rPr>
            <a:t>Depreciaton</a:t>
          </a:r>
        </a:p>
        <a:p>
          <a:pPr marL="57150" lvl="1" indent="-57150" algn="l" defTabSz="400050" rtl="0">
            <a:lnSpc>
              <a:spcPct val="90000"/>
            </a:lnSpc>
            <a:spcBef>
              <a:spcPct val="0"/>
            </a:spcBef>
            <a:spcAft>
              <a:spcPct val="15000"/>
            </a:spcAft>
            <a:buChar char="•"/>
          </a:pPr>
          <a:r>
            <a:rPr lang="en-US" sz="900" kern="1200" dirty="0">
              <a:latin typeface="Montserrat"/>
            </a:rPr>
            <a:t>Sale of an Asset</a:t>
          </a:r>
        </a:p>
      </dsp:txBody>
      <dsp:txXfrm>
        <a:off x="0" y="2310411"/>
        <a:ext cx="8615218" cy="822150"/>
      </dsp:txXfrm>
    </dsp:sp>
    <dsp:sp modelId="{DB5D501B-7863-4067-BF7B-E143F3E177A1}">
      <dsp:nvSpPr>
        <dsp:cNvPr id="0" name=""/>
        <dsp:cNvSpPr/>
      </dsp:nvSpPr>
      <dsp:spPr>
        <a:xfrm>
          <a:off x="430760" y="217757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Posting entries</a:t>
          </a:r>
          <a:endParaRPr lang="en-US" sz="900" kern="1200" dirty="0"/>
        </a:p>
      </dsp:txBody>
      <dsp:txXfrm>
        <a:off x="443729" y="2190540"/>
        <a:ext cx="6004714" cy="239742"/>
      </dsp:txXfrm>
    </dsp:sp>
    <dsp:sp modelId="{72993205-945B-4DF1-93F3-5DDDBB506078}">
      <dsp:nvSpPr>
        <dsp:cNvPr id="0" name=""/>
        <dsp:cNvSpPr/>
      </dsp:nvSpPr>
      <dsp:spPr>
        <a:xfrm>
          <a:off x="0" y="331400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E63156-4690-4300-91F4-83D74C6F301E}">
      <dsp:nvSpPr>
        <dsp:cNvPr id="0" name=""/>
        <dsp:cNvSpPr/>
      </dsp:nvSpPr>
      <dsp:spPr>
        <a:xfrm>
          <a:off x="430760" y="318116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Physical asset linking</a:t>
          </a:r>
          <a:endParaRPr lang="en-US" sz="900" kern="1200" dirty="0"/>
        </a:p>
      </dsp:txBody>
      <dsp:txXfrm>
        <a:off x="443729" y="3194130"/>
        <a:ext cx="6004714" cy="239742"/>
      </dsp:txXfrm>
    </dsp:sp>
    <dsp:sp modelId="{2BE71024-C392-4498-AE92-ACF9324C779A}">
      <dsp:nvSpPr>
        <dsp:cNvPr id="0" name=""/>
        <dsp:cNvSpPr/>
      </dsp:nvSpPr>
      <dsp:spPr>
        <a:xfrm>
          <a:off x="0" y="372224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EE5CEE-A74C-4C30-B551-5B7DB0791E8B}">
      <dsp:nvSpPr>
        <dsp:cNvPr id="0" name=""/>
        <dsp:cNvSpPr/>
      </dsp:nvSpPr>
      <dsp:spPr>
        <a:xfrm>
          <a:off x="430760" y="358940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Able to use different discount rates</a:t>
          </a:r>
          <a:endParaRPr lang="en-US" sz="900" kern="1200" dirty="0"/>
        </a:p>
      </dsp:txBody>
      <dsp:txXfrm>
        <a:off x="443729" y="3602370"/>
        <a:ext cx="6004714" cy="239742"/>
      </dsp:txXfrm>
    </dsp:sp>
    <dsp:sp modelId="{ED70CDF2-CA0F-43C5-BDB0-037A374F8023}">
      <dsp:nvSpPr>
        <dsp:cNvPr id="0" name=""/>
        <dsp:cNvSpPr/>
      </dsp:nvSpPr>
      <dsp:spPr>
        <a:xfrm>
          <a:off x="0" y="413048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7447D1-1897-4085-BDE8-DAC7D8B668B1}">
      <dsp:nvSpPr>
        <dsp:cNvPr id="0" name=""/>
        <dsp:cNvSpPr/>
      </dsp:nvSpPr>
      <dsp:spPr>
        <a:xfrm>
          <a:off x="430760" y="399764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Able to handle multiple legal entities </a:t>
          </a:r>
          <a:endParaRPr lang="en-US" sz="900" kern="1200" dirty="0"/>
        </a:p>
      </dsp:txBody>
      <dsp:txXfrm>
        <a:off x="443729" y="4010610"/>
        <a:ext cx="6004714" cy="2397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DA1FE4-242B-4892-A16E-D4FE2C875601}">
      <dsp:nvSpPr>
        <dsp:cNvPr id="0" name=""/>
        <dsp:cNvSpPr/>
      </dsp:nvSpPr>
      <dsp:spPr>
        <a:xfrm>
          <a:off x="3790859" y="1871024"/>
          <a:ext cx="2969024" cy="343523"/>
        </a:xfrm>
        <a:custGeom>
          <a:avLst/>
          <a:gdLst/>
          <a:ahLst/>
          <a:cxnLst/>
          <a:rect l="0" t="0" r="0" b="0"/>
          <a:pathLst>
            <a:path>
              <a:moveTo>
                <a:pt x="0" y="0"/>
              </a:moveTo>
              <a:lnTo>
                <a:pt x="0" y="171761"/>
              </a:lnTo>
              <a:lnTo>
                <a:pt x="2969024" y="171761"/>
              </a:lnTo>
              <a:lnTo>
                <a:pt x="2969024" y="343523"/>
              </a:lnTo>
            </a:path>
          </a:pathLst>
        </a:custGeom>
        <a:noFill/>
        <a:ln w="6350" cap="flat" cmpd="sng" algn="ctr">
          <a:solidFill>
            <a:schemeClr val="dk1"/>
          </a:solidFill>
          <a:prstDash val="solid"/>
          <a:miter lim="800000"/>
        </a:ln>
        <a:effectLst/>
      </dsp:spPr>
      <dsp:style>
        <a:lnRef idx="1">
          <a:schemeClr val="dk1"/>
        </a:lnRef>
        <a:fillRef idx="0">
          <a:schemeClr val="dk1"/>
        </a:fillRef>
        <a:effectRef idx="0">
          <a:schemeClr val="dk1"/>
        </a:effectRef>
        <a:fontRef idx="minor">
          <a:schemeClr val="tx1"/>
        </a:fontRef>
      </dsp:style>
    </dsp:sp>
    <dsp:sp modelId="{23B61492-02E5-48A7-A3BE-C8EB1BC80D7B}">
      <dsp:nvSpPr>
        <dsp:cNvPr id="0" name=""/>
        <dsp:cNvSpPr/>
      </dsp:nvSpPr>
      <dsp:spPr>
        <a:xfrm>
          <a:off x="3790859" y="1871024"/>
          <a:ext cx="989674" cy="343523"/>
        </a:xfrm>
        <a:custGeom>
          <a:avLst/>
          <a:gdLst/>
          <a:ahLst/>
          <a:cxnLst/>
          <a:rect l="0" t="0" r="0" b="0"/>
          <a:pathLst>
            <a:path>
              <a:moveTo>
                <a:pt x="0" y="0"/>
              </a:moveTo>
              <a:lnTo>
                <a:pt x="0" y="171761"/>
              </a:lnTo>
              <a:lnTo>
                <a:pt x="989674" y="171761"/>
              </a:lnTo>
              <a:lnTo>
                <a:pt x="989674" y="343523"/>
              </a:lnTo>
            </a:path>
          </a:pathLst>
        </a:custGeom>
        <a:noFill/>
        <a:ln w="6350" cap="flat" cmpd="sng" algn="ctr">
          <a:solidFill>
            <a:schemeClr val="dk1"/>
          </a:solidFill>
          <a:prstDash val="solid"/>
          <a:miter lim="800000"/>
        </a:ln>
        <a:effectLst/>
      </dsp:spPr>
      <dsp:style>
        <a:lnRef idx="1">
          <a:schemeClr val="dk1"/>
        </a:lnRef>
        <a:fillRef idx="0">
          <a:schemeClr val="dk1"/>
        </a:fillRef>
        <a:effectRef idx="0">
          <a:schemeClr val="dk1"/>
        </a:effectRef>
        <a:fontRef idx="minor">
          <a:schemeClr val="tx1"/>
        </a:fontRef>
      </dsp:style>
    </dsp:sp>
    <dsp:sp modelId="{8B5EBEF5-023F-464A-B411-63A8847DD0C9}">
      <dsp:nvSpPr>
        <dsp:cNvPr id="0" name=""/>
        <dsp:cNvSpPr/>
      </dsp:nvSpPr>
      <dsp:spPr>
        <a:xfrm>
          <a:off x="2801184" y="1871024"/>
          <a:ext cx="989674" cy="343523"/>
        </a:xfrm>
        <a:custGeom>
          <a:avLst/>
          <a:gdLst/>
          <a:ahLst/>
          <a:cxnLst/>
          <a:rect l="0" t="0" r="0" b="0"/>
          <a:pathLst>
            <a:path>
              <a:moveTo>
                <a:pt x="989674" y="0"/>
              </a:moveTo>
              <a:lnTo>
                <a:pt x="989674" y="171761"/>
              </a:lnTo>
              <a:lnTo>
                <a:pt x="0" y="171761"/>
              </a:lnTo>
              <a:lnTo>
                <a:pt x="0" y="343523"/>
              </a:lnTo>
            </a:path>
          </a:pathLst>
        </a:custGeom>
        <a:noFill/>
        <a:ln w="6350" cap="flat" cmpd="sng" algn="ctr">
          <a:solidFill>
            <a:schemeClr val="dk1"/>
          </a:solidFill>
          <a:prstDash val="solid"/>
          <a:miter lim="800000"/>
        </a:ln>
        <a:effectLst/>
      </dsp:spPr>
      <dsp:style>
        <a:lnRef idx="1">
          <a:schemeClr val="dk1"/>
        </a:lnRef>
        <a:fillRef idx="0">
          <a:schemeClr val="dk1"/>
        </a:fillRef>
        <a:effectRef idx="0">
          <a:schemeClr val="dk1"/>
        </a:effectRef>
        <a:fontRef idx="minor">
          <a:schemeClr val="tx1"/>
        </a:fontRef>
      </dsp:style>
    </dsp:sp>
    <dsp:sp modelId="{A529425B-16AD-45B6-8846-629F57F83A6B}">
      <dsp:nvSpPr>
        <dsp:cNvPr id="0" name=""/>
        <dsp:cNvSpPr/>
      </dsp:nvSpPr>
      <dsp:spPr>
        <a:xfrm>
          <a:off x="821834" y="1871024"/>
          <a:ext cx="2969024" cy="349968"/>
        </a:xfrm>
        <a:custGeom>
          <a:avLst/>
          <a:gdLst/>
          <a:ahLst/>
          <a:cxnLst/>
          <a:rect l="0" t="0" r="0" b="0"/>
          <a:pathLst>
            <a:path>
              <a:moveTo>
                <a:pt x="2969024" y="0"/>
              </a:moveTo>
              <a:lnTo>
                <a:pt x="2969024" y="178206"/>
              </a:lnTo>
              <a:lnTo>
                <a:pt x="0" y="178206"/>
              </a:lnTo>
              <a:lnTo>
                <a:pt x="0" y="349968"/>
              </a:lnTo>
            </a:path>
          </a:pathLst>
        </a:custGeom>
        <a:noFill/>
        <a:ln w="6350" cap="flat" cmpd="sng" algn="ctr">
          <a:solidFill>
            <a:schemeClr val="dk1"/>
          </a:solidFill>
          <a:prstDash val="solid"/>
          <a:miter lim="800000"/>
        </a:ln>
        <a:effectLst/>
      </dsp:spPr>
      <dsp:style>
        <a:lnRef idx="1">
          <a:schemeClr val="dk1"/>
        </a:lnRef>
        <a:fillRef idx="0">
          <a:schemeClr val="dk1"/>
        </a:fillRef>
        <a:effectRef idx="0">
          <a:schemeClr val="dk1"/>
        </a:effectRef>
        <a:fontRef idx="minor">
          <a:schemeClr val="tx1"/>
        </a:fontRef>
      </dsp:style>
    </dsp:sp>
    <dsp:sp modelId="{60898BB1-B89F-4641-B03A-590C9CE57B20}">
      <dsp:nvSpPr>
        <dsp:cNvPr id="0" name=""/>
        <dsp:cNvSpPr/>
      </dsp:nvSpPr>
      <dsp:spPr>
        <a:xfrm>
          <a:off x="2972946" y="1053111"/>
          <a:ext cx="1635825" cy="817912"/>
        </a:xfrm>
        <a:prstGeom prst="rect">
          <a:avLst/>
        </a:prstGeom>
        <a:solidFill>
          <a:schemeClr val="tx2">
            <a:lumMod val="10000"/>
            <a:lumOff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tx1"/>
              </a:solidFill>
              <a:latin typeface="Calibri" panose="020F0502020204030204" pitchFamily="34" charset="0"/>
              <a:cs typeface="Calibri" panose="020F0502020204030204" pitchFamily="34" charset="0"/>
            </a:rPr>
            <a:t>Upcoming Accelerators</a:t>
          </a:r>
          <a:endParaRPr lang="en-CA" sz="1100" kern="1200" dirty="0">
            <a:solidFill>
              <a:schemeClr val="tx1"/>
            </a:solidFill>
            <a:latin typeface="Calibri" panose="020F0502020204030204" pitchFamily="34" charset="0"/>
            <a:cs typeface="Calibri" panose="020F0502020204030204" pitchFamily="34" charset="0"/>
          </a:endParaRPr>
        </a:p>
      </dsp:txBody>
      <dsp:txXfrm>
        <a:off x="2972946" y="1053111"/>
        <a:ext cx="1635825" cy="817912"/>
      </dsp:txXfrm>
    </dsp:sp>
    <dsp:sp modelId="{B30FCB4B-77E6-48CC-A9F9-B2D00F123EDB}">
      <dsp:nvSpPr>
        <dsp:cNvPr id="0" name=""/>
        <dsp:cNvSpPr/>
      </dsp:nvSpPr>
      <dsp:spPr>
        <a:xfrm>
          <a:off x="3921" y="2220992"/>
          <a:ext cx="1635825" cy="817912"/>
        </a:xfrm>
        <a:prstGeom prst="rect">
          <a:avLst/>
        </a:prstGeom>
        <a:solidFill>
          <a:srgbClr val="3366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Calibri" panose="020F0502020204030204" pitchFamily="34" charset="0"/>
              <a:cs typeface="Calibri" panose="020F0502020204030204" pitchFamily="34" charset="0"/>
            </a:rPr>
            <a:t>Revenue Planning</a:t>
          </a:r>
          <a:endParaRPr lang="en-CA" sz="1100" kern="1200" dirty="0">
            <a:latin typeface="Calibri" panose="020F0502020204030204" pitchFamily="34" charset="0"/>
            <a:cs typeface="Calibri" panose="020F0502020204030204" pitchFamily="34" charset="0"/>
          </a:endParaRPr>
        </a:p>
      </dsp:txBody>
      <dsp:txXfrm>
        <a:off x="3921" y="2220992"/>
        <a:ext cx="1635825" cy="817912"/>
      </dsp:txXfrm>
    </dsp:sp>
    <dsp:sp modelId="{739A7F27-4C19-485E-807A-3CCBEBB497E2}">
      <dsp:nvSpPr>
        <dsp:cNvPr id="0" name=""/>
        <dsp:cNvSpPr/>
      </dsp:nvSpPr>
      <dsp:spPr>
        <a:xfrm>
          <a:off x="1983271" y="2214547"/>
          <a:ext cx="1635825" cy="817912"/>
        </a:xfrm>
        <a:prstGeom prst="rect">
          <a:avLst/>
        </a:prstGeom>
        <a:solidFill>
          <a:srgbClr val="3366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Calibri" panose="020F0502020204030204" pitchFamily="34" charset="0"/>
              <a:cs typeface="Calibri" panose="020F0502020204030204" pitchFamily="34" charset="0"/>
            </a:rPr>
            <a:t>Travel &amp; Event Planning</a:t>
          </a:r>
          <a:endParaRPr lang="en-CA" sz="1100" kern="1200" dirty="0">
            <a:latin typeface="Calibri" panose="020F0502020204030204" pitchFamily="34" charset="0"/>
            <a:cs typeface="Calibri" panose="020F0502020204030204" pitchFamily="34" charset="0"/>
          </a:endParaRPr>
        </a:p>
      </dsp:txBody>
      <dsp:txXfrm>
        <a:off x="1983271" y="2214547"/>
        <a:ext cx="1635825" cy="817912"/>
      </dsp:txXfrm>
    </dsp:sp>
    <dsp:sp modelId="{DB100E4C-0150-4467-82BE-40C9867562ED}">
      <dsp:nvSpPr>
        <dsp:cNvPr id="0" name=""/>
        <dsp:cNvSpPr/>
      </dsp:nvSpPr>
      <dsp:spPr>
        <a:xfrm>
          <a:off x="3962620" y="2214547"/>
          <a:ext cx="1635825" cy="817912"/>
        </a:xfrm>
        <a:prstGeom prst="rect">
          <a:avLst/>
        </a:prstGeom>
        <a:solidFill>
          <a:srgbClr val="3366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Calibri" panose="020F0502020204030204" pitchFamily="34" charset="0"/>
              <a:cs typeface="Calibri" panose="020F0502020204030204" pitchFamily="34" charset="0"/>
            </a:rPr>
            <a:t>Procurement Planning</a:t>
          </a:r>
          <a:endParaRPr lang="en-CA" sz="1100" kern="1200" dirty="0">
            <a:latin typeface="Calibri" panose="020F0502020204030204" pitchFamily="34" charset="0"/>
            <a:cs typeface="Calibri" panose="020F0502020204030204" pitchFamily="34" charset="0"/>
          </a:endParaRPr>
        </a:p>
      </dsp:txBody>
      <dsp:txXfrm>
        <a:off x="3962620" y="2214547"/>
        <a:ext cx="1635825" cy="817912"/>
      </dsp:txXfrm>
    </dsp:sp>
    <dsp:sp modelId="{41CDA912-3E55-4EF1-80DF-FC7485701D25}">
      <dsp:nvSpPr>
        <dsp:cNvPr id="0" name=""/>
        <dsp:cNvSpPr/>
      </dsp:nvSpPr>
      <dsp:spPr>
        <a:xfrm>
          <a:off x="5941970" y="2214547"/>
          <a:ext cx="1635825" cy="817912"/>
        </a:xfrm>
        <a:prstGeom prst="rect">
          <a:avLst/>
        </a:prstGeom>
        <a:solidFill>
          <a:srgbClr val="3366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Calibri" panose="020F0502020204030204" pitchFamily="34" charset="0"/>
              <a:cs typeface="Calibri" panose="020F0502020204030204" pitchFamily="34" charset="0"/>
            </a:rPr>
            <a:t>Strategic Workforce Planning</a:t>
          </a:r>
          <a:endParaRPr lang="en-CA" sz="1100" kern="1200" dirty="0">
            <a:latin typeface="Calibri" panose="020F0502020204030204" pitchFamily="34" charset="0"/>
            <a:cs typeface="Calibri" panose="020F0502020204030204" pitchFamily="34" charset="0"/>
          </a:endParaRPr>
        </a:p>
      </dsp:txBody>
      <dsp:txXfrm>
        <a:off x="5941970" y="2214547"/>
        <a:ext cx="1635825" cy="8179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3C19E9-46DA-48E4-B154-F60087E1AF3A}">
      <dsp:nvSpPr>
        <dsp:cNvPr id="0" name=""/>
        <dsp:cNvSpPr/>
      </dsp:nvSpPr>
      <dsp:spPr>
        <a:xfrm>
          <a:off x="-5044026" y="-772772"/>
          <a:ext cx="6007015" cy="6007015"/>
        </a:xfrm>
        <a:prstGeom prst="blockArc">
          <a:avLst>
            <a:gd name="adj1" fmla="val 18900000"/>
            <a:gd name="adj2" fmla="val 2700000"/>
            <a:gd name="adj3" fmla="val 360"/>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C2C9BB-9DBB-4FCE-BAC9-AA359F026653}">
      <dsp:nvSpPr>
        <dsp:cNvPr id="0" name=""/>
        <dsp:cNvSpPr/>
      </dsp:nvSpPr>
      <dsp:spPr>
        <a:xfrm>
          <a:off x="421266" y="278752"/>
          <a:ext cx="8544247"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Full Driver Based Processes</a:t>
          </a:r>
        </a:p>
      </dsp:txBody>
      <dsp:txXfrm>
        <a:off x="421266" y="278752"/>
        <a:ext cx="8544247" cy="557862"/>
      </dsp:txXfrm>
    </dsp:sp>
    <dsp:sp modelId="{CABD8E68-C9D2-4F18-86BB-662CC0944406}">
      <dsp:nvSpPr>
        <dsp:cNvPr id="0" name=""/>
        <dsp:cNvSpPr/>
      </dsp:nvSpPr>
      <dsp:spPr>
        <a:xfrm>
          <a:off x="72602" y="209019"/>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299F9892-5E69-4F70-A1AC-773B6483332B}">
      <dsp:nvSpPr>
        <dsp:cNvPr id="0" name=""/>
        <dsp:cNvSpPr/>
      </dsp:nvSpPr>
      <dsp:spPr>
        <a:xfrm>
          <a:off x="821014" y="1115278"/>
          <a:ext cx="8144500"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What If Analysis</a:t>
          </a:r>
        </a:p>
      </dsp:txBody>
      <dsp:txXfrm>
        <a:off x="821014" y="1115278"/>
        <a:ext cx="8144500" cy="557862"/>
      </dsp:txXfrm>
    </dsp:sp>
    <dsp:sp modelId="{16263135-E944-4FC3-AF73-2C74F72F337C}">
      <dsp:nvSpPr>
        <dsp:cNvPr id="0" name=""/>
        <dsp:cNvSpPr/>
      </dsp:nvSpPr>
      <dsp:spPr>
        <a:xfrm>
          <a:off x="472350" y="1045545"/>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5E1C9BD5-4352-4322-B154-43211D8B0C6B}">
      <dsp:nvSpPr>
        <dsp:cNvPr id="0" name=""/>
        <dsp:cNvSpPr/>
      </dsp:nvSpPr>
      <dsp:spPr>
        <a:xfrm>
          <a:off x="943705" y="1951803"/>
          <a:ext cx="8021809"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Multi Year Budgeting (Max 10 Y)</a:t>
          </a:r>
        </a:p>
      </dsp:txBody>
      <dsp:txXfrm>
        <a:off x="943705" y="1951803"/>
        <a:ext cx="8021809" cy="557862"/>
      </dsp:txXfrm>
    </dsp:sp>
    <dsp:sp modelId="{F64E1AF7-41DD-4551-87DD-60EC74C465A5}">
      <dsp:nvSpPr>
        <dsp:cNvPr id="0" name=""/>
        <dsp:cNvSpPr/>
      </dsp:nvSpPr>
      <dsp:spPr>
        <a:xfrm>
          <a:off x="595041" y="1882071"/>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F6A48C2A-A963-4729-B9AD-342853E9B17D}">
      <dsp:nvSpPr>
        <dsp:cNvPr id="0" name=""/>
        <dsp:cNvSpPr/>
      </dsp:nvSpPr>
      <dsp:spPr>
        <a:xfrm>
          <a:off x="821014" y="2788329"/>
          <a:ext cx="8144500"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Full Process Tracking</a:t>
          </a:r>
        </a:p>
      </dsp:txBody>
      <dsp:txXfrm>
        <a:off x="821014" y="2788329"/>
        <a:ext cx="8144500" cy="557862"/>
      </dsp:txXfrm>
    </dsp:sp>
    <dsp:sp modelId="{2AC6F656-1123-4DDA-BF8A-CC14A0622F54}">
      <dsp:nvSpPr>
        <dsp:cNvPr id="0" name=""/>
        <dsp:cNvSpPr/>
      </dsp:nvSpPr>
      <dsp:spPr>
        <a:xfrm>
          <a:off x="472350" y="2718596"/>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BE620735-5732-4659-BDC7-8007CC960AB5}">
      <dsp:nvSpPr>
        <dsp:cNvPr id="0" name=""/>
        <dsp:cNvSpPr/>
      </dsp:nvSpPr>
      <dsp:spPr>
        <a:xfrm>
          <a:off x="421266" y="3624855"/>
          <a:ext cx="8544247"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Data Level Security</a:t>
          </a:r>
        </a:p>
      </dsp:txBody>
      <dsp:txXfrm>
        <a:off x="421266" y="3624855"/>
        <a:ext cx="8544247" cy="557862"/>
      </dsp:txXfrm>
    </dsp:sp>
    <dsp:sp modelId="{47CFF8D8-F883-44B3-B59E-E1C114559696}">
      <dsp:nvSpPr>
        <dsp:cNvPr id="0" name=""/>
        <dsp:cNvSpPr/>
      </dsp:nvSpPr>
      <dsp:spPr>
        <a:xfrm>
          <a:off x="72602" y="3555122"/>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18F8B8-D9D1-47E2-898F-E922C263079A}" type="datetimeFigureOut">
              <a:rPr lang="en-US" smtClean="0"/>
              <a:t>6/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82ED48-64B6-48D6-91D7-42A08CE4DAFB}" type="slidenum">
              <a:rPr lang="en-US" smtClean="0"/>
              <a:t>‹#›</a:t>
            </a:fld>
            <a:endParaRPr lang="en-US"/>
          </a:p>
        </p:txBody>
      </p:sp>
    </p:spTree>
    <p:extLst>
      <p:ext uri="{BB962C8B-B14F-4D97-AF65-F5344CB8AC3E}">
        <p14:creationId xmlns:p14="http://schemas.microsoft.com/office/powerpoint/2010/main" val="1049509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7390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0</a:t>
            </a:fld>
            <a:endParaRPr lang="en-US"/>
          </a:p>
        </p:txBody>
      </p:sp>
    </p:spTree>
    <p:extLst>
      <p:ext uri="{BB962C8B-B14F-4D97-AF65-F5344CB8AC3E}">
        <p14:creationId xmlns:p14="http://schemas.microsoft.com/office/powerpoint/2010/main" val="3203600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1</a:t>
            </a:fld>
            <a:endParaRPr lang="en-US"/>
          </a:p>
        </p:txBody>
      </p:sp>
    </p:spTree>
    <p:extLst>
      <p:ext uri="{BB962C8B-B14F-4D97-AF65-F5344CB8AC3E}">
        <p14:creationId xmlns:p14="http://schemas.microsoft.com/office/powerpoint/2010/main" val="14816208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2</a:t>
            </a:fld>
            <a:endParaRPr lang="en-US"/>
          </a:p>
        </p:txBody>
      </p:sp>
    </p:spTree>
    <p:extLst>
      <p:ext uri="{BB962C8B-B14F-4D97-AF65-F5344CB8AC3E}">
        <p14:creationId xmlns:p14="http://schemas.microsoft.com/office/powerpoint/2010/main" val="4228572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3</a:t>
            </a:fld>
            <a:endParaRPr lang="en-US"/>
          </a:p>
        </p:txBody>
      </p:sp>
    </p:spTree>
    <p:extLst>
      <p:ext uri="{BB962C8B-B14F-4D97-AF65-F5344CB8AC3E}">
        <p14:creationId xmlns:p14="http://schemas.microsoft.com/office/powerpoint/2010/main" val="33790570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4</a:t>
            </a:fld>
            <a:endParaRPr lang="en-US"/>
          </a:p>
        </p:txBody>
      </p:sp>
    </p:spTree>
    <p:extLst>
      <p:ext uri="{BB962C8B-B14F-4D97-AF65-F5344CB8AC3E}">
        <p14:creationId xmlns:p14="http://schemas.microsoft.com/office/powerpoint/2010/main" val="3739379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5</a:t>
            </a:fld>
            <a:endParaRPr lang="en-US"/>
          </a:p>
        </p:txBody>
      </p:sp>
    </p:spTree>
    <p:extLst>
      <p:ext uri="{BB962C8B-B14F-4D97-AF65-F5344CB8AC3E}">
        <p14:creationId xmlns:p14="http://schemas.microsoft.com/office/powerpoint/2010/main" val="18538015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6</a:t>
            </a:fld>
            <a:endParaRPr lang="en-US"/>
          </a:p>
        </p:txBody>
      </p:sp>
    </p:spTree>
    <p:extLst>
      <p:ext uri="{BB962C8B-B14F-4D97-AF65-F5344CB8AC3E}">
        <p14:creationId xmlns:p14="http://schemas.microsoft.com/office/powerpoint/2010/main" val="4122023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7</a:t>
            </a:fld>
            <a:endParaRPr lang="en-US"/>
          </a:p>
        </p:txBody>
      </p:sp>
    </p:spTree>
    <p:extLst>
      <p:ext uri="{BB962C8B-B14F-4D97-AF65-F5344CB8AC3E}">
        <p14:creationId xmlns:p14="http://schemas.microsoft.com/office/powerpoint/2010/main" val="26654661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8</a:t>
            </a:fld>
            <a:endParaRPr lang="en-US"/>
          </a:p>
        </p:txBody>
      </p:sp>
    </p:spTree>
    <p:extLst>
      <p:ext uri="{BB962C8B-B14F-4D97-AF65-F5344CB8AC3E}">
        <p14:creationId xmlns:p14="http://schemas.microsoft.com/office/powerpoint/2010/main" val="464064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4" name="Google Shape;1134;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5" name="Google Shape;1135;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a:p>
          <a:p>
            <a:pPr algn="just"/>
            <a:r>
              <a:rPr lang="en-US"/>
              <a:t>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343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move</a:t>
            </a:r>
          </a:p>
        </p:txBody>
      </p:sp>
      <p:sp>
        <p:nvSpPr>
          <p:cNvPr id="4" name="Slide Number Placeholder 3"/>
          <p:cNvSpPr>
            <a:spLocks noGrp="1"/>
          </p:cNvSpPr>
          <p:nvPr>
            <p:ph type="sldNum" sz="quarter" idx="5"/>
          </p:nvPr>
        </p:nvSpPr>
        <p:spPr/>
        <p:txBody>
          <a:bodyPr/>
          <a:lstStyle/>
          <a:p>
            <a:fld id="{DEEA1863-6E95-4851-A14C-4A4923837DC4}" type="slidenum">
              <a:rPr lang="en-US"/>
              <a:t>20</a:t>
            </a:fld>
            <a:endParaRPr lang="en-US"/>
          </a:p>
        </p:txBody>
      </p:sp>
    </p:spTree>
    <p:extLst>
      <p:ext uri="{BB962C8B-B14F-4D97-AF65-F5344CB8AC3E}">
        <p14:creationId xmlns:p14="http://schemas.microsoft.com/office/powerpoint/2010/main" val="19332897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634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2</a:t>
            </a:fld>
            <a:endParaRPr lang="en-US"/>
          </a:p>
        </p:txBody>
      </p:sp>
    </p:spTree>
    <p:extLst>
      <p:ext uri="{BB962C8B-B14F-4D97-AF65-F5344CB8AC3E}">
        <p14:creationId xmlns:p14="http://schemas.microsoft.com/office/powerpoint/2010/main" val="21825291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982ED48-64B6-48D6-91D7-42A08CE4DAFB}" type="slidenum">
              <a:rPr lang="en-US" smtClean="0"/>
              <a:t>23</a:t>
            </a:fld>
            <a:endParaRPr lang="en-US"/>
          </a:p>
        </p:txBody>
      </p:sp>
    </p:spTree>
    <p:extLst>
      <p:ext uri="{BB962C8B-B14F-4D97-AF65-F5344CB8AC3E}">
        <p14:creationId xmlns:p14="http://schemas.microsoft.com/office/powerpoint/2010/main" val="1330894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4</a:t>
            </a:fld>
            <a:endParaRPr lang="en-US"/>
          </a:p>
        </p:txBody>
      </p:sp>
    </p:spTree>
    <p:extLst>
      <p:ext uri="{BB962C8B-B14F-4D97-AF65-F5344CB8AC3E}">
        <p14:creationId xmlns:p14="http://schemas.microsoft.com/office/powerpoint/2010/main" val="1724334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824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4</a:t>
            </a:fld>
            <a:endParaRPr lang="en-US"/>
          </a:p>
        </p:txBody>
      </p:sp>
    </p:spTree>
    <p:extLst>
      <p:ext uri="{BB962C8B-B14F-4D97-AF65-F5344CB8AC3E}">
        <p14:creationId xmlns:p14="http://schemas.microsoft.com/office/powerpoint/2010/main" val="1642143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a:t> </a:t>
            </a:r>
            <a:endParaRPr lang="en-US">
              <a:cs typeface="Calibri"/>
            </a:endParaRPr>
          </a:p>
          <a:p>
            <a:pPr marL="171450" indent="-171450">
              <a:buFont typeface="Arial,Sans-Serif"/>
              <a:buChar char="•"/>
            </a:pPr>
            <a:endParaRPr lang="en-US"/>
          </a:p>
          <a:p>
            <a:pPr algn="just"/>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204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6</a:t>
            </a:fld>
            <a:endParaRPr lang="en-US"/>
          </a:p>
        </p:txBody>
      </p:sp>
    </p:spTree>
    <p:extLst>
      <p:ext uri="{BB962C8B-B14F-4D97-AF65-F5344CB8AC3E}">
        <p14:creationId xmlns:p14="http://schemas.microsoft.com/office/powerpoint/2010/main" val="41167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7</a:t>
            </a:fld>
            <a:endParaRPr lang="en-US"/>
          </a:p>
        </p:txBody>
      </p:sp>
    </p:spTree>
    <p:extLst>
      <p:ext uri="{BB962C8B-B14F-4D97-AF65-F5344CB8AC3E}">
        <p14:creationId xmlns:p14="http://schemas.microsoft.com/office/powerpoint/2010/main" val="954185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8</a:t>
            </a:fld>
            <a:endParaRPr lang="en-US"/>
          </a:p>
        </p:txBody>
      </p:sp>
    </p:spTree>
    <p:extLst>
      <p:ext uri="{BB962C8B-B14F-4D97-AF65-F5344CB8AC3E}">
        <p14:creationId xmlns:p14="http://schemas.microsoft.com/office/powerpoint/2010/main" val="6233261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9</a:t>
            </a:fld>
            <a:endParaRPr lang="en-US"/>
          </a:p>
        </p:txBody>
      </p:sp>
    </p:spTree>
    <p:extLst>
      <p:ext uri="{BB962C8B-B14F-4D97-AF65-F5344CB8AC3E}">
        <p14:creationId xmlns:p14="http://schemas.microsoft.com/office/powerpoint/2010/main" val="1475047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442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AF5B8-8C9F-F298-8420-A60EE1C739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4686BB-3C73-7240-3FED-58AA6B0A9C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9B2C5F-D76E-9A34-A0EB-3FD44650C660}"/>
              </a:ext>
            </a:extLst>
          </p:cNvPr>
          <p:cNvSpPr>
            <a:spLocks noGrp="1"/>
          </p:cNvSpPr>
          <p:nvPr>
            <p:ph type="dt" sz="half" idx="10"/>
          </p:nvPr>
        </p:nvSpPr>
        <p:spPr/>
        <p:txBody>
          <a:bodyPr/>
          <a:lstStyle/>
          <a:p>
            <a:fld id="{5871F90B-37FC-6C4D-8B02-05DE59F5687B}" type="datetimeFigureOut">
              <a:rPr lang="en-US" smtClean="0"/>
              <a:t>6/25/2023</a:t>
            </a:fld>
            <a:endParaRPr lang="en-US"/>
          </a:p>
        </p:txBody>
      </p:sp>
      <p:sp>
        <p:nvSpPr>
          <p:cNvPr id="5" name="Footer Placeholder 4">
            <a:extLst>
              <a:ext uri="{FF2B5EF4-FFF2-40B4-BE49-F238E27FC236}">
                <a16:creationId xmlns:a16="http://schemas.microsoft.com/office/drawing/2014/main" id="{80650226-77E8-8BD1-194C-628777DC52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2E7BE5-4A6A-A2B9-C1CE-6B59B8A8631D}"/>
              </a:ext>
            </a:extLst>
          </p:cNvPr>
          <p:cNvSpPr>
            <a:spLocks noGrp="1"/>
          </p:cNvSpPr>
          <p:nvPr>
            <p:ph type="sldNum" sz="quarter" idx="12"/>
          </p:nvPr>
        </p:nvSpPr>
        <p:spPr/>
        <p:txBody>
          <a:bodyPr/>
          <a:lstStyle/>
          <a:p>
            <a:fld id="{B0E4A864-C874-194E-980D-D36BD30AAF67}" type="slidenum">
              <a:rPr lang="en-US" smtClean="0"/>
              <a:t>‹#›</a:t>
            </a:fld>
            <a:endParaRPr lang="en-US"/>
          </a:p>
        </p:txBody>
      </p:sp>
    </p:spTree>
    <p:extLst>
      <p:ext uri="{BB962C8B-B14F-4D97-AF65-F5344CB8AC3E}">
        <p14:creationId xmlns:p14="http://schemas.microsoft.com/office/powerpoint/2010/main" val="2769383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2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36581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8" name="Picture Placeholder 47">
            <a:extLst>
              <a:ext uri="{FF2B5EF4-FFF2-40B4-BE49-F238E27FC236}">
                <a16:creationId xmlns:a16="http://schemas.microsoft.com/office/drawing/2014/main" id="{D9F9D97D-40AE-409E-87B2-6010B72E0F12}"/>
              </a:ext>
            </a:extLst>
          </p:cNvPr>
          <p:cNvSpPr>
            <a:spLocks noGrp="1"/>
          </p:cNvSpPr>
          <p:nvPr>
            <p:ph type="pic" sz="quarter" idx="13"/>
          </p:nvPr>
        </p:nvSpPr>
        <p:spPr>
          <a:xfrm>
            <a:off x="8924264" y="2723043"/>
            <a:ext cx="1573295" cy="1573294"/>
          </a:xfrm>
          <a:custGeom>
            <a:avLst/>
            <a:gdLst>
              <a:gd name="connsiteX0" fmla="*/ 808657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7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7" y="336"/>
                </a:moveTo>
                <a:cubicBezTo>
                  <a:pt x="835224" y="1111"/>
                  <a:pt x="862004" y="3236"/>
                  <a:pt x="888924" y="6766"/>
                </a:cubicBezTo>
                <a:cubicBezTo>
                  <a:pt x="1319640" y="63252"/>
                  <a:pt x="1623014" y="458207"/>
                  <a:pt x="1566529" y="888923"/>
                </a:cubicBezTo>
                <a:cubicBezTo>
                  <a:pt x="1510043" y="1319639"/>
                  <a:pt x="1115088" y="1623014"/>
                  <a:pt x="684372" y="1566528"/>
                </a:cubicBezTo>
                <a:cubicBezTo>
                  <a:pt x="253656" y="1510043"/>
                  <a:pt x="-49718" y="1115087"/>
                  <a:pt x="6767" y="684371"/>
                </a:cubicBezTo>
                <a:cubicBezTo>
                  <a:pt x="59723" y="280575"/>
                  <a:pt x="410161" y="-11300"/>
                  <a:pt x="808657" y="336"/>
                </a:cubicBezTo>
                <a:close/>
              </a:path>
            </a:pathLst>
          </a:custGeom>
        </p:spPr>
        <p:txBody>
          <a:bodyPr wrap="square">
            <a:noAutofit/>
          </a:bodyPr>
          <a:lstStyle/>
          <a:p>
            <a:endParaRPr lang="en-ID"/>
          </a:p>
        </p:txBody>
      </p:sp>
      <p:sp>
        <p:nvSpPr>
          <p:cNvPr id="38" name="Picture Placeholder 37">
            <a:extLst>
              <a:ext uri="{FF2B5EF4-FFF2-40B4-BE49-F238E27FC236}">
                <a16:creationId xmlns:a16="http://schemas.microsoft.com/office/drawing/2014/main" id="{501202F2-7FB4-47DD-9939-64DC3354AE20}"/>
              </a:ext>
            </a:extLst>
          </p:cNvPr>
          <p:cNvSpPr>
            <a:spLocks noGrp="1"/>
          </p:cNvSpPr>
          <p:nvPr>
            <p:ph type="pic" sz="quarter" idx="10"/>
          </p:nvPr>
        </p:nvSpPr>
        <p:spPr>
          <a:xfrm>
            <a:off x="0" y="2"/>
            <a:ext cx="12192000" cy="3509688"/>
          </a:xfrm>
          <a:custGeom>
            <a:avLst/>
            <a:gdLst>
              <a:gd name="connsiteX0" fmla="*/ 0 w 12192000"/>
              <a:gd name="connsiteY0" fmla="*/ 0 h 3509688"/>
              <a:gd name="connsiteX1" fmla="*/ 12192000 w 12192000"/>
              <a:gd name="connsiteY1" fmla="*/ 0 h 3509688"/>
              <a:gd name="connsiteX2" fmla="*/ 12192000 w 12192000"/>
              <a:gd name="connsiteY2" fmla="*/ 439519 h 3509688"/>
              <a:gd name="connsiteX3" fmla="*/ 11935858 w 12192000"/>
              <a:gd name="connsiteY3" fmla="*/ 773506 h 3509688"/>
              <a:gd name="connsiteX4" fmla="*/ 6103726 w 12192000"/>
              <a:gd name="connsiteY4" fmla="*/ 3509688 h 3509688"/>
              <a:gd name="connsiteX5" fmla="*/ 271594 w 12192000"/>
              <a:gd name="connsiteY5" fmla="*/ 773506 h 3509688"/>
              <a:gd name="connsiteX6" fmla="*/ 0 w 12192000"/>
              <a:gd name="connsiteY6" fmla="*/ 419370 h 350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509688">
                <a:moveTo>
                  <a:pt x="0" y="0"/>
                </a:moveTo>
                <a:lnTo>
                  <a:pt x="12192000" y="0"/>
                </a:lnTo>
                <a:lnTo>
                  <a:pt x="12192000" y="439519"/>
                </a:lnTo>
                <a:lnTo>
                  <a:pt x="11935858" y="773506"/>
                </a:lnTo>
                <a:cubicBezTo>
                  <a:pt x="10571256" y="2440824"/>
                  <a:pt x="8465901" y="3509688"/>
                  <a:pt x="6103726" y="3509688"/>
                </a:cubicBezTo>
                <a:cubicBezTo>
                  <a:pt x="3741551" y="3509688"/>
                  <a:pt x="1636197" y="2440824"/>
                  <a:pt x="271594" y="773506"/>
                </a:cubicBezTo>
                <a:lnTo>
                  <a:pt x="0" y="419370"/>
                </a:lnTo>
                <a:close/>
              </a:path>
            </a:pathLst>
          </a:custGeom>
        </p:spPr>
        <p:txBody>
          <a:bodyPr wrap="square">
            <a:noAutofit/>
          </a:bodyPr>
          <a:lstStyle/>
          <a:p>
            <a:endParaRPr lang="en-ID"/>
          </a:p>
        </p:txBody>
      </p:sp>
      <p:sp>
        <p:nvSpPr>
          <p:cNvPr id="45" name="Picture Placeholder 44">
            <a:extLst>
              <a:ext uri="{FF2B5EF4-FFF2-40B4-BE49-F238E27FC236}">
                <a16:creationId xmlns:a16="http://schemas.microsoft.com/office/drawing/2014/main" id="{B8861518-2C44-46D0-A519-54DF62BD2899}"/>
              </a:ext>
            </a:extLst>
          </p:cNvPr>
          <p:cNvSpPr>
            <a:spLocks noGrp="1"/>
          </p:cNvSpPr>
          <p:nvPr>
            <p:ph type="pic" sz="quarter" idx="12"/>
          </p:nvPr>
        </p:nvSpPr>
        <p:spPr>
          <a:xfrm>
            <a:off x="5353842" y="2723043"/>
            <a:ext cx="1573295" cy="1573294"/>
          </a:xfrm>
          <a:custGeom>
            <a:avLst/>
            <a:gdLst>
              <a:gd name="connsiteX0" fmla="*/ 808658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8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8" y="336"/>
                </a:moveTo>
                <a:cubicBezTo>
                  <a:pt x="835224" y="1111"/>
                  <a:pt x="862004" y="3236"/>
                  <a:pt x="888924" y="6766"/>
                </a:cubicBezTo>
                <a:cubicBezTo>
                  <a:pt x="1319640" y="63252"/>
                  <a:pt x="1623015" y="458207"/>
                  <a:pt x="1566529" y="888923"/>
                </a:cubicBezTo>
                <a:cubicBezTo>
                  <a:pt x="1510043" y="1319639"/>
                  <a:pt x="1115088" y="1623014"/>
                  <a:pt x="684372" y="1566528"/>
                </a:cubicBezTo>
                <a:cubicBezTo>
                  <a:pt x="253657" y="1510043"/>
                  <a:pt x="-49718" y="1115087"/>
                  <a:pt x="6767" y="684371"/>
                </a:cubicBezTo>
                <a:cubicBezTo>
                  <a:pt x="59723" y="280575"/>
                  <a:pt x="410161" y="-11300"/>
                  <a:pt x="808658" y="336"/>
                </a:cubicBezTo>
                <a:close/>
              </a:path>
            </a:pathLst>
          </a:custGeom>
        </p:spPr>
        <p:txBody>
          <a:bodyPr wrap="square">
            <a:noAutofit/>
          </a:bodyPr>
          <a:lstStyle/>
          <a:p>
            <a:endParaRPr lang="en-ID"/>
          </a:p>
        </p:txBody>
      </p:sp>
      <p:sp>
        <p:nvSpPr>
          <p:cNvPr id="41" name="Picture Placeholder 40">
            <a:extLst>
              <a:ext uri="{FF2B5EF4-FFF2-40B4-BE49-F238E27FC236}">
                <a16:creationId xmlns:a16="http://schemas.microsoft.com/office/drawing/2014/main" id="{3B80D801-8B9A-47AE-9670-CA3ACCE0AFAE}"/>
              </a:ext>
            </a:extLst>
          </p:cNvPr>
          <p:cNvSpPr>
            <a:spLocks noGrp="1"/>
          </p:cNvSpPr>
          <p:nvPr>
            <p:ph type="pic" sz="quarter" idx="11"/>
          </p:nvPr>
        </p:nvSpPr>
        <p:spPr>
          <a:xfrm>
            <a:off x="1805372" y="2723043"/>
            <a:ext cx="1573295" cy="1573294"/>
          </a:xfrm>
          <a:custGeom>
            <a:avLst/>
            <a:gdLst>
              <a:gd name="connsiteX0" fmla="*/ 808658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8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8" y="336"/>
                </a:moveTo>
                <a:cubicBezTo>
                  <a:pt x="835224" y="1111"/>
                  <a:pt x="862004" y="3236"/>
                  <a:pt x="888924" y="6766"/>
                </a:cubicBezTo>
                <a:cubicBezTo>
                  <a:pt x="1319640" y="63252"/>
                  <a:pt x="1623015" y="458207"/>
                  <a:pt x="1566529" y="888923"/>
                </a:cubicBezTo>
                <a:cubicBezTo>
                  <a:pt x="1510043" y="1319639"/>
                  <a:pt x="1115088" y="1623014"/>
                  <a:pt x="684372" y="1566528"/>
                </a:cubicBezTo>
                <a:cubicBezTo>
                  <a:pt x="253656" y="1510043"/>
                  <a:pt x="-49718" y="1115087"/>
                  <a:pt x="6767" y="684371"/>
                </a:cubicBezTo>
                <a:cubicBezTo>
                  <a:pt x="59723" y="280575"/>
                  <a:pt x="410161" y="-11300"/>
                  <a:pt x="808658" y="336"/>
                </a:cubicBezTo>
                <a:close/>
              </a:path>
            </a:pathLst>
          </a:custGeom>
        </p:spPr>
        <p:txBody>
          <a:bodyPr wrap="square">
            <a:noAutofit/>
          </a:bodyPr>
          <a:lstStyle/>
          <a:p>
            <a:endParaRPr lang="en-ID"/>
          </a:p>
        </p:txBody>
      </p:sp>
    </p:spTree>
    <p:extLst>
      <p:ext uri="{BB962C8B-B14F-4D97-AF65-F5344CB8AC3E}">
        <p14:creationId xmlns:p14="http://schemas.microsoft.com/office/powerpoint/2010/main" val="4215444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C7B785F-AC89-436B-9DFB-A5E99AFFDA5E}"/>
              </a:ext>
            </a:extLst>
          </p:cNvPr>
          <p:cNvSpPr>
            <a:spLocks noGrp="1"/>
          </p:cNvSpPr>
          <p:nvPr>
            <p:ph type="pic" sz="quarter" idx="10"/>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374547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7F9D475-530F-48CC-A1A4-716EA3F5C0A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1578887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974065-B404-4878-9EE9-43FC6C34969D}"/>
              </a:ext>
            </a:extLst>
          </p:cNvPr>
          <p:cNvSpPr>
            <a:spLocks noGrp="1"/>
          </p:cNvSpPr>
          <p:nvPr>
            <p:ph type="pic" sz="quarter" idx="10"/>
          </p:nvPr>
        </p:nvSpPr>
        <p:spPr>
          <a:xfrm>
            <a:off x="6665234" y="339832"/>
            <a:ext cx="4188299" cy="6518169"/>
          </a:xfrm>
          <a:custGeom>
            <a:avLst/>
            <a:gdLst>
              <a:gd name="connsiteX0" fmla="*/ 0 w 4188299"/>
              <a:gd name="connsiteY0" fmla="*/ 0 h 6518169"/>
              <a:gd name="connsiteX1" fmla="*/ 4188299 w 4188299"/>
              <a:gd name="connsiteY1" fmla="*/ 0 h 6518169"/>
              <a:gd name="connsiteX2" fmla="*/ 4188299 w 4188299"/>
              <a:gd name="connsiteY2" fmla="*/ 6518169 h 6518169"/>
              <a:gd name="connsiteX3" fmla="*/ 0 w 4188299"/>
              <a:gd name="connsiteY3" fmla="*/ 6518169 h 6518169"/>
            </a:gdLst>
            <a:ahLst/>
            <a:cxnLst>
              <a:cxn ang="0">
                <a:pos x="connsiteX0" y="connsiteY0"/>
              </a:cxn>
              <a:cxn ang="0">
                <a:pos x="connsiteX1" y="connsiteY1"/>
              </a:cxn>
              <a:cxn ang="0">
                <a:pos x="connsiteX2" y="connsiteY2"/>
              </a:cxn>
              <a:cxn ang="0">
                <a:pos x="connsiteX3" y="connsiteY3"/>
              </a:cxn>
            </a:cxnLst>
            <a:rect l="l" t="t" r="r" b="b"/>
            <a:pathLst>
              <a:path w="4188299" h="6518169">
                <a:moveTo>
                  <a:pt x="0" y="0"/>
                </a:moveTo>
                <a:lnTo>
                  <a:pt x="4188299" y="0"/>
                </a:lnTo>
                <a:lnTo>
                  <a:pt x="4188299" y="6518169"/>
                </a:lnTo>
                <a:lnTo>
                  <a:pt x="0" y="6518169"/>
                </a:lnTo>
                <a:close/>
              </a:path>
            </a:pathLst>
          </a:custGeom>
          <a:effectLst>
            <a:outerShdw blurRad="254000" sx="102000" sy="102000" algn="ctr" rotWithShape="0">
              <a:prstClr val="black">
                <a:alpha val="10000"/>
              </a:prstClr>
            </a:outerShdw>
          </a:effectLst>
        </p:spPr>
        <p:txBody>
          <a:bodyPr wrap="square">
            <a:noAutofit/>
          </a:bodyPr>
          <a:lstStyle/>
          <a:p>
            <a:endParaRPr lang="en-ID"/>
          </a:p>
        </p:txBody>
      </p:sp>
      <p:sp>
        <p:nvSpPr>
          <p:cNvPr id="8" name="Text Placeholder 34">
            <a:extLst>
              <a:ext uri="{FF2B5EF4-FFF2-40B4-BE49-F238E27FC236}">
                <a16:creationId xmlns:a16="http://schemas.microsoft.com/office/drawing/2014/main" id="{244F91A4-BC0F-42E4-8674-26D00DD1817C}"/>
              </a:ext>
            </a:extLst>
          </p:cNvPr>
          <p:cNvSpPr>
            <a:spLocks noGrp="1"/>
          </p:cNvSpPr>
          <p:nvPr>
            <p:ph type="body" sz="quarter" idx="11"/>
          </p:nvPr>
        </p:nvSpPr>
        <p:spPr>
          <a:xfrm>
            <a:off x="1028790" y="2424139"/>
            <a:ext cx="5067210" cy="646331"/>
          </a:xfrm>
          <a:prstGeom prst="rect">
            <a:avLst/>
          </a:prstGeom>
        </p:spPr>
        <p:txBody>
          <a:bodyPr anchor="b"/>
          <a:lstStyle>
            <a:lvl1pPr marL="0" indent="0" algn="l" defTabSz="914400" rtl="0" eaLnBrk="1" latinLnBrk="0" hangingPunct="1">
              <a:lnSpc>
                <a:spcPct val="100000"/>
              </a:lnSpc>
              <a:spcBef>
                <a:spcPts val="0"/>
              </a:spcBef>
              <a:buNone/>
              <a:defRPr lang="en-ID" sz="4400" b="1"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Tree>
    <p:extLst>
      <p:ext uri="{BB962C8B-B14F-4D97-AF65-F5344CB8AC3E}">
        <p14:creationId xmlns:p14="http://schemas.microsoft.com/office/powerpoint/2010/main" val="234705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ctr"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ctr"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6" name="Freeform 11">
            <a:extLst>
              <a:ext uri="{FF2B5EF4-FFF2-40B4-BE49-F238E27FC236}">
                <a16:creationId xmlns:a16="http://schemas.microsoft.com/office/drawing/2014/main" id="{3511B68E-2E1D-4E74-8F53-81DDFE84F6EF}"/>
              </a:ext>
            </a:extLst>
          </p:cNvPr>
          <p:cNvSpPr>
            <a:spLocks/>
          </p:cNvSpPr>
          <p:nvPr userDrawn="1"/>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12">
            <a:extLst>
              <a:ext uri="{FF2B5EF4-FFF2-40B4-BE49-F238E27FC236}">
                <a16:creationId xmlns:a16="http://schemas.microsoft.com/office/drawing/2014/main" id="{D5C06C90-70E6-4A27-93FE-9AAD89FA8232}"/>
              </a:ext>
            </a:extLst>
          </p:cNvPr>
          <p:cNvSpPr>
            <a:spLocks/>
          </p:cNvSpPr>
          <p:nvPr userDrawn="1"/>
        </p:nvSpPr>
        <p:spPr bwMode="auto">
          <a:xfrm rot="16200000" flipH="1">
            <a:off x="4495943" y="-2173302"/>
            <a:ext cx="5324039" cy="1921933"/>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14">
            <a:extLst>
              <a:ext uri="{FF2B5EF4-FFF2-40B4-BE49-F238E27FC236}">
                <a16:creationId xmlns:a16="http://schemas.microsoft.com/office/drawing/2014/main" id="{87C796E3-45EB-404B-A254-9F7A8BE917A2}"/>
              </a:ext>
            </a:extLst>
          </p:cNvPr>
          <p:cNvSpPr>
            <a:spLocks/>
          </p:cNvSpPr>
          <p:nvPr userDrawn="1"/>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15">
            <a:extLst>
              <a:ext uri="{FF2B5EF4-FFF2-40B4-BE49-F238E27FC236}">
                <a16:creationId xmlns:a16="http://schemas.microsoft.com/office/drawing/2014/main" id="{40C9DF56-66D3-440E-9CBB-CE2F863FEB7C}"/>
              </a:ext>
            </a:extLst>
          </p:cNvPr>
          <p:cNvSpPr>
            <a:spLocks/>
          </p:cNvSpPr>
          <p:nvPr userDrawn="1"/>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17">
            <a:extLst>
              <a:ext uri="{FF2B5EF4-FFF2-40B4-BE49-F238E27FC236}">
                <a16:creationId xmlns:a16="http://schemas.microsoft.com/office/drawing/2014/main" id="{684E40AE-9A90-46AB-891C-F543A0B7FC75}"/>
              </a:ext>
            </a:extLst>
          </p:cNvPr>
          <p:cNvSpPr>
            <a:spLocks/>
          </p:cNvSpPr>
          <p:nvPr userDrawn="1"/>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8">
            <a:extLst>
              <a:ext uri="{FF2B5EF4-FFF2-40B4-BE49-F238E27FC236}">
                <a16:creationId xmlns:a16="http://schemas.microsoft.com/office/drawing/2014/main" id="{0B64E213-FA85-4803-BCD0-88E605E962C2}"/>
              </a:ext>
            </a:extLst>
          </p:cNvPr>
          <p:cNvSpPr>
            <a:spLocks/>
          </p:cNvSpPr>
          <p:nvPr userDrawn="1"/>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20">
            <a:extLst>
              <a:ext uri="{FF2B5EF4-FFF2-40B4-BE49-F238E27FC236}">
                <a16:creationId xmlns:a16="http://schemas.microsoft.com/office/drawing/2014/main" id="{BDD24B4A-B7B3-4120-996C-EB2FCCB43699}"/>
              </a:ext>
            </a:extLst>
          </p:cNvPr>
          <p:cNvSpPr>
            <a:spLocks/>
          </p:cNvSpPr>
          <p:nvPr userDrawn="1"/>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3" name="Oval 27">
            <a:extLst>
              <a:ext uri="{FF2B5EF4-FFF2-40B4-BE49-F238E27FC236}">
                <a16:creationId xmlns:a16="http://schemas.microsoft.com/office/drawing/2014/main" id="{98419C3F-0E6F-4A8A-A43D-CFF286A707AE}"/>
              </a:ext>
            </a:extLst>
          </p:cNvPr>
          <p:cNvSpPr>
            <a:spLocks noChangeArrowheads="1"/>
          </p:cNvSpPr>
          <p:nvPr userDrawn="1"/>
        </p:nvSpPr>
        <p:spPr bwMode="auto">
          <a:xfrm rot="16200000" flipH="1">
            <a:off x="7637508" y="144069"/>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4" name="Oval 30">
            <a:extLst>
              <a:ext uri="{FF2B5EF4-FFF2-40B4-BE49-F238E27FC236}">
                <a16:creationId xmlns:a16="http://schemas.microsoft.com/office/drawing/2014/main" id="{1B7463EB-77D3-412D-A516-A5EAE60C1918}"/>
              </a:ext>
            </a:extLst>
          </p:cNvPr>
          <p:cNvSpPr>
            <a:spLocks noChangeArrowheads="1"/>
          </p:cNvSpPr>
          <p:nvPr userDrawn="1"/>
        </p:nvSpPr>
        <p:spPr bwMode="auto">
          <a:xfrm rot="16200000" flipH="1">
            <a:off x="7251066"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5" name="Oval 31">
            <a:extLst>
              <a:ext uri="{FF2B5EF4-FFF2-40B4-BE49-F238E27FC236}">
                <a16:creationId xmlns:a16="http://schemas.microsoft.com/office/drawing/2014/main" id="{EB90C5BE-225D-4F39-8D92-DB7FDD1D2B8C}"/>
              </a:ext>
            </a:extLst>
          </p:cNvPr>
          <p:cNvSpPr>
            <a:spLocks noChangeArrowheads="1"/>
          </p:cNvSpPr>
          <p:nvPr userDrawn="1"/>
        </p:nvSpPr>
        <p:spPr bwMode="auto">
          <a:xfrm rot="16200000" flipH="1">
            <a:off x="6626158" y="1006406"/>
            <a:ext cx="58493" cy="65314"/>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6" name="Oval 34">
            <a:extLst>
              <a:ext uri="{FF2B5EF4-FFF2-40B4-BE49-F238E27FC236}">
                <a16:creationId xmlns:a16="http://schemas.microsoft.com/office/drawing/2014/main" id="{F5CBEB61-B052-402D-9689-1E09ED37B3F6}"/>
              </a:ext>
            </a:extLst>
          </p:cNvPr>
          <p:cNvSpPr>
            <a:spLocks noChangeArrowheads="1"/>
          </p:cNvSpPr>
          <p:nvPr userDrawn="1"/>
        </p:nvSpPr>
        <p:spPr bwMode="auto">
          <a:xfrm rot="16200000" flipH="1">
            <a:off x="6835654" y="248247"/>
            <a:ext cx="3743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8" name="Oval 36">
            <a:extLst>
              <a:ext uri="{FF2B5EF4-FFF2-40B4-BE49-F238E27FC236}">
                <a16:creationId xmlns:a16="http://schemas.microsoft.com/office/drawing/2014/main" id="{5F1B7414-C220-4046-845F-91E50AD82C7C}"/>
              </a:ext>
            </a:extLst>
          </p:cNvPr>
          <p:cNvSpPr>
            <a:spLocks noChangeArrowheads="1"/>
          </p:cNvSpPr>
          <p:nvPr userDrawn="1"/>
        </p:nvSpPr>
        <p:spPr bwMode="auto">
          <a:xfrm rot="16200000" flipH="1">
            <a:off x="6982551" y="455897"/>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9" name="Oval 37">
            <a:extLst>
              <a:ext uri="{FF2B5EF4-FFF2-40B4-BE49-F238E27FC236}">
                <a16:creationId xmlns:a16="http://schemas.microsoft.com/office/drawing/2014/main" id="{CBC90931-6FEB-431B-845C-12348060D6B4}"/>
              </a:ext>
            </a:extLst>
          </p:cNvPr>
          <p:cNvSpPr>
            <a:spLocks noChangeArrowheads="1"/>
          </p:cNvSpPr>
          <p:nvPr userDrawn="1"/>
        </p:nvSpPr>
        <p:spPr bwMode="auto">
          <a:xfrm rot="16200000" flipH="1">
            <a:off x="6425566"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51">
            <a:extLst>
              <a:ext uri="{FF2B5EF4-FFF2-40B4-BE49-F238E27FC236}">
                <a16:creationId xmlns:a16="http://schemas.microsoft.com/office/drawing/2014/main" id="{B236F318-B86D-489A-BEE9-C2C46F13E84C}"/>
              </a:ext>
            </a:extLst>
          </p:cNvPr>
          <p:cNvSpPr>
            <a:spLocks/>
          </p:cNvSpPr>
          <p:nvPr userDrawn="1"/>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52">
            <a:extLst>
              <a:ext uri="{FF2B5EF4-FFF2-40B4-BE49-F238E27FC236}">
                <a16:creationId xmlns:a16="http://schemas.microsoft.com/office/drawing/2014/main" id="{AAC53C08-F8A4-4EFA-ADF3-6CD18F54145C}"/>
              </a:ext>
            </a:extLst>
          </p:cNvPr>
          <p:cNvSpPr>
            <a:spLocks/>
          </p:cNvSpPr>
          <p:nvPr userDrawn="1"/>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54">
            <a:extLst>
              <a:ext uri="{FF2B5EF4-FFF2-40B4-BE49-F238E27FC236}">
                <a16:creationId xmlns:a16="http://schemas.microsoft.com/office/drawing/2014/main" id="{72A2DA55-4AF9-4655-838F-EB2CBCC12521}"/>
              </a:ext>
            </a:extLst>
          </p:cNvPr>
          <p:cNvSpPr>
            <a:spLocks/>
          </p:cNvSpPr>
          <p:nvPr userDrawn="1"/>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55">
            <a:extLst>
              <a:ext uri="{FF2B5EF4-FFF2-40B4-BE49-F238E27FC236}">
                <a16:creationId xmlns:a16="http://schemas.microsoft.com/office/drawing/2014/main" id="{24E89891-C583-4487-A928-CA9BA6BB7B2E}"/>
              </a:ext>
            </a:extLst>
          </p:cNvPr>
          <p:cNvSpPr>
            <a:spLocks/>
          </p:cNvSpPr>
          <p:nvPr userDrawn="1"/>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7">
            <a:extLst>
              <a:ext uri="{FF2B5EF4-FFF2-40B4-BE49-F238E27FC236}">
                <a16:creationId xmlns:a16="http://schemas.microsoft.com/office/drawing/2014/main" id="{58D96BFB-A690-4802-A3D8-23624F526BDF}"/>
              </a:ext>
            </a:extLst>
          </p:cNvPr>
          <p:cNvSpPr>
            <a:spLocks/>
          </p:cNvSpPr>
          <p:nvPr userDrawn="1"/>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8">
            <a:extLst>
              <a:ext uri="{FF2B5EF4-FFF2-40B4-BE49-F238E27FC236}">
                <a16:creationId xmlns:a16="http://schemas.microsoft.com/office/drawing/2014/main" id="{3D6B5980-65F0-4264-90F4-9EFF5C0AB686}"/>
              </a:ext>
            </a:extLst>
          </p:cNvPr>
          <p:cNvSpPr>
            <a:spLocks/>
          </p:cNvSpPr>
          <p:nvPr userDrawn="1"/>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60">
            <a:extLst>
              <a:ext uri="{FF2B5EF4-FFF2-40B4-BE49-F238E27FC236}">
                <a16:creationId xmlns:a16="http://schemas.microsoft.com/office/drawing/2014/main" id="{051999A0-BD65-4B77-815C-986E71E05FC4}"/>
              </a:ext>
            </a:extLst>
          </p:cNvPr>
          <p:cNvSpPr>
            <a:spLocks/>
          </p:cNvSpPr>
          <p:nvPr userDrawn="1"/>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7" name="Oval 67">
            <a:extLst>
              <a:ext uri="{FF2B5EF4-FFF2-40B4-BE49-F238E27FC236}">
                <a16:creationId xmlns:a16="http://schemas.microsoft.com/office/drawing/2014/main" id="{2CF408A7-82C0-498F-81BE-9E25AA2DE057}"/>
              </a:ext>
            </a:extLst>
          </p:cNvPr>
          <p:cNvSpPr>
            <a:spLocks noChangeArrowheads="1"/>
          </p:cNvSpPr>
          <p:nvPr userDrawn="1"/>
        </p:nvSpPr>
        <p:spPr bwMode="auto">
          <a:xfrm rot="16200000" flipH="1">
            <a:off x="4519961" y="145884"/>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8" name="Oval 70">
            <a:extLst>
              <a:ext uri="{FF2B5EF4-FFF2-40B4-BE49-F238E27FC236}">
                <a16:creationId xmlns:a16="http://schemas.microsoft.com/office/drawing/2014/main" id="{06BE6807-16ED-4C29-B916-F58D4C4FA798}"/>
              </a:ext>
            </a:extLst>
          </p:cNvPr>
          <p:cNvSpPr>
            <a:spLocks noChangeArrowheads="1"/>
          </p:cNvSpPr>
          <p:nvPr userDrawn="1"/>
        </p:nvSpPr>
        <p:spPr bwMode="auto">
          <a:xfrm rot="16200000" flipH="1">
            <a:off x="4908218"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9" name="Oval 71">
            <a:extLst>
              <a:ext uri="{FF2B5EF4-FFF2-40B4-BE49-F238E27FC236}">
                <a16:creationId xmlns:a16="http://schemas.microsoft.com/office/drawing/2014/main" id="{9A0386B5-09D1-4126-A5CF-BEC3D44C5B50}"/>
              </a:ext>
            </a:extLst>
          </p:cNvPr>
          <p:cNvSpPr>
            <a:spLocks noChangeArrowheads="1"/>
          </p:cNvSpPr>
          <p:nvPr userDrawn="1"/>
        </p:nvSpPr>
        <p:spPr bwMode="auto">
          <a:xfrm rot="16200000" flipH="1">
            <a:off x="5504989" y="415685"/>
            <a:ext cx="62003" cy="616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0" name="Oval 74">
            <a:extLst>
              <a:ext uri="{FF2B5EF4-FFF2-40B4-BE49-F238E27FC236}">
                <a16:creationId xmlns:a16="http://schemas.microsoft.com/office/drawing/2014/main" id="{FB893BB3-A80E-4D46-A9B5-D2C861797549}"/>
              </a:ext>
            </a:extLst>
          </p:cNvPr>
          <p:cNvSpPr>
            <a:spLocks noChangeArrowheads="1"/>
          </p:cNvSpPr>
          <p:nvPr userDrawn="1"/>
        </p:nvSpPr>
        <p:spPr bwMode="auto">
          <a:xfrm rot="16200000" flipH="1">
            <a:off x="5320061" y="779304"/>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1" name="Oval 75">
            <a:extLst>
              <a:ext uri="{FF2B5EF4-FFF2-40B4-BE49-F238E27FC236}">
                <a16:creationId xmlns:a16="http://schemas.microsoft.com/office/drawing/2014/main" id="{4BDBE6B3-BF75-44D3-A31F-AC8A896A3953}"/>
              </a:ext>
            </a:extLst>
          </p:cNvPr>
          <p:cNvSpPr>
            <a:spLocks noChangeArrowheads="1"/>
          </p:cNvSpPr>
          <p:nvPr userDrawn="1"/>
        </p:nvSpPr>
        <p:spPr bwMode="auto">
          <a:xfrm rot="16200000" flipH="1">
            <a:off x="5972658" y="619658"/>
            <a:ext cx="3743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40" name="Picture Placeholder 39">
            <a:extLst>
              <a:ext uri="{FF2B5EF4-FFF2-40B4-BE49-F238E27FC236}">
                <a16:creationId xmlns:a16="http://schemas.microsoft.com/office/drawing/2014/main" id="{5C2CBE77-DAC0-4D55-A3CF-3AE4846C05C8}"/>
              </a:ext>
            </a:extLst>
          </p:cNvPr>
          <p:cNvSpPr>
            <a:spLocks noGrp="1"/>
          </p:cNvSpPr>
          <p:nvPr>
            <p:ph type="pic" sz="quarter" idx="12"/>
          </p:nvPr>
        </p:nvSpPr>
        <p:spPr>
          <a:xfrm>
            <a:off x="0" y="4089400"/>
            <a:ext cx="12192000" cy="2768600"/>
          </a:xfrm>
          <a:custGeom>
            <a:avLst/>
            <a:gdLst>
              <a:gd name="connsiteX0" fmla="*/ 0 w 12192000"/>
              <a:gd name="connsiteY0" fmla="*/ 0 h 2768600"/>
              <a:gd name="connsiteX1" fmla="*/ 12192000 w 12192000"/>
              <a:gd name="connsiteY1" fmla="*/ 0 h 2768600"/>
              <a:gd name="connsiteX2" fmla="*/ 12192000 w 12192000"/>
              <a:gd name="connsiteY2" fmla="*/ 2768600 h 2768600"/>
              <a:gd name="connsiteX3" fmla="*/ 0 w 12192000"/>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12192000" h="2768600">
                <a:moveTo>
                  <a:pt x="0" y="0"/>
                </a:moveTo>
                <a:lnTo>
                  <a:pt x="12192000" y="0"/>
                </a:lnTo>
                <a:lnTo>
                  <a:pt x="12192000" y="2768600"/>
                </a:lnTo>
                <a:lnTo>
                  <a:pt x="0" y="2768600"/>
                </a:lnTo>
                <a:close/>
              </a:path>
            </a:pathLst>
          </a:custGeom>
        </p:spPr>
        <p:txBody>
          <a:bodyPr wrap="square">
            <a:noAutofit/>
          </a:bodyPr>
          <a:lstStyle/>
          <a:p>
            <a:endParaRPr lang="en-ID"/>
          </a:p>
        </p:txBody>
      </p:sp>
      <p:sp>
        <p:nvSpPr>
          <p:cNvPr id="32" name="Oval 76">
            <a:extLst>
              <a:ext uri="{FF2B5EF4-FFF2-40B4-BE49-F238E27FC236}">
                <a16:creationId xmlns:a16="http://schemas.microsoft.com/office/drawing/2014/main" id="{359D06E9-F6F8-4994-8E4B-1DD87C83267F}"/>
              </a:ext>
            </a:extLst>
          </p:cNvPr>
          <p:cNvSpPr>
            <a:spLocks noChangeArrowheads="1"/>
          </p:cNvSpPr>
          <p:nvPr userDrawn="1"/>
        </p:nvSpPr>
        <p:spPr bwMode="auto">
          <a:xfrm rot="16200000" flipH="1">
            <a:off x="5176127" y="455292"/>
            <a:ext cx="3392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3" name="Oval 77">
            <a:extLst>
              <a:ext uri="{FF2B5EF4-FFF2-40B4-BE49-F238E27FC236}">
                <a16:creationId xmlns:a16="http://schemas.microsoft.com/office/drawing/2014/main" id="{17909065-FD07-4B77-981E-61200E69BC66}"/>
              </a:ext>
            </a:extLst>
          </p:cNvPr>
          <p:cNvSpPr>
            <a:spLocks noChangeArrowheads="1"/>
          </p:cNvSpPr>
          <p:nvPr userDrawn="1"/>
        </p:nvSpPr>
        <p:spPr bwMode="auto">
          <a:xfrm rot="16200000" flipH="1">
            <a:off x="5733718"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6641485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l"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l"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l"/>
            <a:endParaRPr lang="id-ID"/>
          </a:p>
        </p:txBody>
      </p:sp>
      <p:sp>
        <p:nvSpPr>
          <p:cNvPr id="34" name="Picture Placeholder 39">
            <a:extLst>
              <a:ext uri="{FF2B5EF4-FFF2-40B4-BE49-F238E27FC236}">
                <a16:creationId xmlns:a16="http://schemas.microsoft.com/office/drawing/2014/main" id="{40AE9807-38C7-4CD5-B35E-0F081F0E2C0A}"/>
              </a:ext>
            </a:extLst>
          </p:cNvPr>
          <p:cNvSpPr>
            <a:spLocks noGrp="1"/>
          </p:cNvSpPr>
          <p:nvPr>
            <p:ph type="pic" sz="quarter" idx="12"/>
          </p:nvPr>
        </p:nvSpPr>
        <p:spPr>
          <a:xfrm>
            <a:off x="0" y="-13526"/>
            <a:ext cx="12192000" cy="2768600"/>
          </a:xfrm>
          <a:custGeom>
            <a:avLst/>
            <a:gdLst>
              <a:gd name="connsiteX0" fmla="*/ 0 w 12192000"/>
              <a:gd name="connsiteY0" fmla="*/ 0 h 2768600"/>
              <a:gd name="connsiteX1" fmla="*/ 12192000 w 12192000"/>
              <a:gd name="connsiteY1" fmla="*/ 0 h 2768600"/>
              <a:gd name="connsiteX2" fmla="*/ 12192000 w 12192000"/>
              <a:gd name="connsiteY2" fmla="*/ 2768600 h 2768600"/>
              <a:gd name="connsiteX3" fmla="*/ 0 w 12192000"/>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12192000" h="2768600">
                <a:moveTo>
                  <a:pt x="0" y="0"/>
                </a:moveTo>
                <a:lnTo>
                  <a:pt x="12192000" y="0"/>
                </a:lnTo>
                <a:lnTo>
                  <a:pt x="12192000" y="2768600"/>
                </a:lnTo>
                <a:lnTo>
                  <a:pt x="0" y="2768600"/>
                </a:lnTo>
                <a:close/>
              </a:path>
            </a:pathLst>
          </a:custGeom>
        </p:spPr>
        <p:txBody>
          <a:bodyPr wrap="square">
            <a:noAutofit/>
          </a:bodyPr>
          <a:lstStyle/>
          <a:p>
            <a:endParaRPr lang="en-ID"/>
          </a:p>
        </p:txBody>
      </p:sp>
    </p:spTree>
    <p:extLst>
      <p:ext uri="{BB962C8B-B14F-4D97-AF65-F5344CB8AC3E}">
        <p14:creationId xmlns:p14="http://schemas.microsoft.com/office/powerpoint/2010/main" val="1192327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ctr"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ctr"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6" name="Freeform 11">
            <a:extLst>
              <a:ext uri="{FF2B5EF4-FFF2-40B4-BE49-F238E27FC236}">
                <a16:creationId xmlns:a16="http://schemas.microsoft.com/office/drawing/2014/main" id="{3511B68E-2E1D-4E74-8F53-81DDFE84F6EF}"/>
              </a:ext>
            </a:extLst>
          </p:cNvPr>
          <p:cNvSpPr>
            <a:spLocks/>
          </p:cNvSpPr>
          <p:nvPr userDrawn="1"/>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12">
            <a:extLst>
              <a:ext uri="{FF2B5EF4-FFF2-40B4-BE49-F238E27FC236}">
                <a16:creationId xmlns:a16="http://schemas.microsoft.com/office/drawing/2014/main" id="{D5C06C90-70E6-4A27-93FE-9AAD89FA8232}"/>
              </a:ext>
            </a:extLst>
          </p:cNvPr>
          <p:cNvSpPr>
            <a:spLocks/>
          </p:cNvSpPr>
          <p:nvPr userDrawn="1"/>
        </p:nvSpPr>
        <p:spPr bwMode="auto">
          <a:xfrm rot="16200000" flipH="1">
            <a:off x="4495943" y="-2173302"/>
            <a:ext cx="5324039" cy="1921933"/>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14">
            <a:extLst>
              <a:ext uri="{FF2B5EF4-FFF2-40B4-BE49-F238E27FC236}">
                <a16:creationId xmlns:a16="http://schemas.microsoft.com/office/drawing/2014/main" id="{87C796E3-45EB-404B-A254-9F7A8BE917A2}"/>
              </a:ext>
            </a:extLst>
          </p:cNvPr>
          <p:cNvSpPr>
            <a:spLocks/>
          </p:cNvSpPr>
          <p:nvPr userDrawn="1"/>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15">
            <a:extLst>
              <a:ext uri="{FF2B5EF4-FFF2-40B4-BE49-F238E27FC236}">
                <a16:creationId xmlns:a16="http://schemas.microsoft.com/office/drawing/2014/main" id="{40C9DF56-66D3-440E-9CBB-CE2F863FEB7C}"/>
              </a:ext>
            </a:extLst>
          </p:cNvPr>
          <p:cNvSpPr>
            <a:spLocks/>
          </p:cNvSpPr>
          <p:nvPr userDrawn="1"/>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17">
            <a:extLst>
              <a:ext uri="{FF2B5EF4-FFF2-40B4-BE49-F238E27FC236}">
                <a16:creationId xmlns:a16="http://schemas.microsoft.com/office/drawing/2014/main" id="{684E40AE-9A90-46AB-891C-F543A0B7FC75}"/>
              </a:ext>
            </a:extLst>
          </p:cNvPr>
          <p:cNvSpPr>
            <a:spLocks/>
          </p:cNvSpPr>
          <p:nvPr userDrawn="1"/>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8">
            <a:extLst>
              <a:ext uri="{FF2B5EF4-FFF2-40B4-BE49-F238E27FC236}">
                <a16:creationId xmlns:a16="http://schemas.microsoft.com/office/drawing/2014/main" id="{0B64E213-FA85-4803-BCD0-88E605E962C2}"/>
              </a:ext>
            </a:extLst>
          </p:cNvPr>
          <p:cNvSpPr>
            <a:spLocks/>
          </p:cNvSpPr>
          <p:nvPr userDrawn="1"/>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20">
            <a:extLst>
              <a:ext uri="{FF2B5EF4-FFF2-40B4-BE49-F238E27FC236}">
                <a16:creationId xmlns:a16="http://schemas.microsoft.com/office/drawing/2014/main" id="{BDD24B4A-B7B3-4120-996C-EB2FCCB43699}"/>
              </a:ext>
            </a:extLst>
          </p:cNvPr>
          <p:cNvSpPr>
            <a:spLocks/>
          </p:cNvSpPr>
          <p:nvPr userDrawn="1"/>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3" name="Oval 27">
            <a:extLst>
              <a:ext uri="{FF2B5EF4-FFF2-40B4-BE49-F238E27FC236}">
                <a16:creationId xmlns:a16="http://schemas.microsoft.com/office/drawing/2014/main" id="{98419C3F-0E6F-4A8A-A43D-CFF286A707AE}"/>
              </a:ext>
            </a:extLst>
          </p:cNvPr>
          <p:cNvSpPr>
            <a:spLocks noChangeArrowheads="1"/>
          </p:cNvSpPr>
          <p:nvPr userDrawn="1"/>
        </p:nvSpPr>
        <p:spPr bwMode="auto">
          <a:xfrm rot="16200000" flipH="1">
            <a:off x="7637508" y="144069"/>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4" name="Oval 30">
            <a:extLst>
              <a:ext uri="{FF2B5EF4-FFF2-40B4-BE49-F238E27FC236}">
                <a16:creationId xmlns:a16="http://schemas.microsoft.com/office/drawing/2014/main" id="{1B7463EB-77D3-412D-A516-A5EAE60C1918}"/>
              </a:ext>
            </a:extLst>
          </p:cNvPr>
          <p:cNvSpPr>
            <a:spLocks noChangeArrowheads="1"/>
          </p:cNvSpPr>
          <p:nvPr userDrawn="1"/>
        </p:nvSpPr>
        <p:spPr bwMode="auto">
          <a:xfrm rot="16200000" flipH="1">
            <a:off x="7251066"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5" name="Oval 31">
            <a:extLst>
              <a:ext uri="{FF2B5EF4-FFF2-40B4-BE49-F238E27FC236}">
                <a16:creationId xmlns:a16="http://schemas.microsoft.com/office/drawing/2014/main" id="{EB90C5BE-225D-4F39-8D92-DB7FDD1D2B8C}"/>
              </a:ext>
            </a:extLst>
          </p:cNvPr>
          <p:cNvSpPr>
            <a:spLocks noChangeArrowheads="1"/>
          </p:cNvSpPr>
          <p:nvPr userDrawn="1"/>
        </p:nvSpPr>
        <p:spPr bwMode="auto">
          <a:xfrm rot="16200000" flipH="1">
            <a:off x="6626158" y="1006406"/>
            <a:ext cx="58493" cy="65314"/>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6" name="Oval 34">
            <a:extLst>
              <a:ext uri="{FF2B5EF4-FFF2-40B4-BE49-F238E27FC236}">
                <a16:creationId xmlns:a16="http://schemas.microsoft.com/office/drawing/2014/main" id="{F5CBEB61-B052-402D-9689-1E09ED37B3F6}"/>
              </a:ext>
            </a:extLst>
          </p:cNvPr>
          <p:cNvSpPr>
            <a:spLocks noChangeArrowheads="1"/>
          </p:cNvSpPr>
          <p:nvPr userDrawn="1"/>
        </p:nvSpPr>
        <p:spPr bwMode="auto">
          <a:xfrm rot="16200000" flipH="1">
            <a:off x="6835654" y="248247"/>
            <a:ext cx="3743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8" name="Oval 36">
            <a:extLst>
              <a:ext uri="{FF2B5EF4-FFF2-40B4-BE49-F238E27FC236}">
                <a16:creationId xmlns:a16="http://schemas.microsoft.com/office/drawing/2014/main" id="{5F1B7414-C220-4046-845F-91E50AD82C7C}"/>
              </a:ext>
            </a:extLst>
          </p:cNvPr>
          <p:cNvSpPr>
            <a:spLocks noChangeArrowheads="1"/>
          </p:cNvSpPr>
          <p:nvPr userDrawn="1"/>
        </p:nvSpPr>
        <p:spPr bwMode="auto">
          <a:xfrm rot="16200000" flipH="1">
            <a:off x="6982551" y="455897"/>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9" name="Oval 37">
            <a:extLst>
              <a:ext uri="{FF2B5EF4-FFF2-40B4-BE49-F238E27FC236}">
                <a16:creationId xmlns:a16="http://schemas.microsoft.com/office/drawing/2014/main" id="{CBC90931-6FEB-431B-845C-12348060D6B4}"/>
              </a:ext>
            </a:extLst>
          </p:cNvPr>
          <p:cNvSpPr>
            <a:spLocks noChangeArrowheads="1"/>
          </p:cNvSpPr>
          <p:nvPr userDrawn="1"/>
        </p:nvSpPr>
        <p:spPr bwMode="auto">
          <a:xfrm rot="16200000" flipH="1">
            <a:off x="6425566"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51">
            <a:extLst>
              <a:ext uri="{FF2B5EF4-FFF2-40B4-BE49-F238E27FC236}">
                <a16:creationId xmlns:a16="http://schemas.microsoft.com/office/drawing/2014/main" id="{B236F318-B86D-489A-BEE9-C2C46F13E84C}"/>
              </a:ext>
            </a:extLst>
          </p:cNvPr>
          <p:cNvSpPr>
            <a:spLocks/>
          </p:cNvSpPr>
          <p:nvPr userDrawn="1"/>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52">
            <a:extLst>
              <a:ext uri="{FF2B5EF4-FFF2-40B4-BE49-F238E27FC236}">
                <a16:creationId xmlns:a16="http://schemas.microsoft.com/office/drawing/2014/main" id="{AAC53C08-F8A4-4EFA-ADF3-6CD18F54145C}"/>
              </a:ext>
            </a:extLst>
          </p:cNvPr>
          <p:cNvSpPr>
            <a:spLocks/>
          </p:cNvSpPr>
          <p:nvPr userDrawn="1"/>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54">
            <a:extLst>
              <a:ext uri="{FF2B5EF4-FFF2-40B4-BE49-F238E27FC236}">
                <a16:creationId xmlns:a16="http://schemas.microsoft.com/office/drawing/2014/main" id="{72A2DA55-4AF9-4655-838F-EB2CBCC12521}"/>
              </a:ext>
            </a:extLst>
          </p:cNvPr>
          <p:cNvSpPr>
            <a:spLocks/>
          </p:cNvSpPr>
          <p:nvPr userDrawn="1"/>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55">
            <a:extLst>
              <a:ext uri="{FF2B5EF4-FFF2-40B4-BE49-F238E27FC236}">
                <a16:creationId xmlns:a16="http://schemas.microsoft.com/office/drawing/2014/main" id="{24E89891-C583-4487-A928-CA9BA6BB7B2E}"/>
              </a:ext>
            </a:extLst>
          </p:cNvPr>
          <p:cNvSpPr>
            <a:spLocks/>
          </p:cNvSpPr>
          <p:nvPr userDrawn="1"/>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7">
            <a:extLst>
              <a:ext uri="{FF2B5EF4-FFF2-40B4-BE49-F238E27FC236}">
                <a16:creationId xmlns:a16="http://schemas.microsoft.com/office/drawing/2014/main" id="{58D96BFB-A690-4802-A3D8-23624F526BDF}"/>
              </a:ext>
            </a:extLst>
          </p:cNvPr>
          <p:cNvSpPr>
            <a:spLocks/>
          </p:cNvSpPr>
          <p:nvPr userDrawn="1"/>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8">
            <a:extLst>
              <a:ext uri="{FF2B5EF4-FFF2-40B4-BE49-F238E27FC236}">
                <a16:creationId xmlns:a16="http://schemas.microsoft.com/office/drawing/2014/main" id="{3D6B5980-65F0-4264-90F4-9EFF5C0AB686}"/>
              </a:ext>
            </a:extLst>
          </p:cNvPr>
          <p:cNvSpPr>
            <a:spLocks/>
          </p:cNvSpPr>
          <p:nvPr userDrawn="1"/>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60">
            <a:extLst>
              <a:ext uri="{FF2B5EF4-FFF2-40B4-BE49-F238E27FC236}">
                <a16:creationId xmlns:a16="http://schemas.microsoft.com/office/drawing/2014/main" id="{051999A0-BD65-4B77-815C-986E71E05FC4}"/>
              </a:ext>
            </a:extLst>
          </p:cNvPr>
          <p:cNvSpPr>
            <a:spLocks/>
          </p:cNvSpPr>
          <p:nvPr userDrawn="1"/>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7" name="Oval 67">
            <a:extLst>
              <a:ext uri="{FF2B5EF4-FFF2-40B4-BE49-F238E27FC236}">
                <a16:creationId xmlns:a16="http://schemas.microsoft.com/office/drawing/2014/main" id="{2CF408A7-82C0-498F-81BE-9E25AA2DE057}"/>
              </a:ext>
            </a:extLst>
          </p:cNvPr>
          <p:cNvSpPr>
            <a:spLocks noChangeArrowheads="1"/>
          </p:cNvSpPr>
          <p:nvPr userDrawn="1"/>
        </p:nvSpPr>
        <p:spPr bwMode="auto">
          <a:xfrm rot="16200000" flipH="1">
            <a:off x="4519961" y="145884"/>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8" name="Oval 70">
            <a:extLst>
              <a:ext uri="{FF2B5EF4-FFF2-40B4-BE49-F238E27FC236}">
                <a16:creationId xmlns:a16="http://schemas.microsoft.com/office/drawing/2014/main" id="{06BE6807-16ED-4C29-B916-F58D4C4FA798}"/>
              </a:ext>
            </a:extLst>
          </p:cNvPr>
          <p:cNvSpPr>
            <a:spLocks noChangeArrowheads="1"/>
          </p:cNvSpPr>
          <p:nvPr userDrawn="1"/>
        </p:nvSpPr>
        <p:spPr bwMode="auto">
          <a:xfrm rot="16200000" flipH="1">
            <a:off x="4908218"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9" name="Oval 71">
            <a:extLst>
              <a:ext uri="{FF2B5EF4-FFF2-40B4-BE49-F238E27FC236}">
                <a16:creationId xmlns:a16="http://schemas.microsoft.com/office/drawing/2014/main" id="{9A0386B5-09D1-4126-A5CF-BEC3D44C5B50}"/>
              </a:ext>
            </a:extLst>
          </p:cNvPr>
          <p:cNvSpPr>
            <a:spLocks noChangeArrowheads="1"/>
          </p:cNvSpPr>
          <p:nvPr userDrawn="1"/>
        </p:nvSpPr>
        <p:spPr bwMode="auto">
          <a:xfrm rot="16200000" flipH="1">
            <a:off x="5504989" y="415685"/>
            <a:ext cx="62003" cy="616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0" name="Oval 74">
            <a:extLst>
              <a:ext uri="{FF2B5EF4-FFF2-40B4-BE49-F238E27FC236}">
                <a16:creationId xmlns:a16="http://schemas.microsoft.com/office/drawing/2014/main" id="{FB893BB3-A80E-4D46-A9B5-D2C861797549}"/>
              </a:ext>
            </a:extLst>
          </p:cNvPr>
          <p:cNvSpPr>
            <a:spLocks noChangeArrowheads="1"/>
          </p:cNvSpPr>
          <p:nvPr userDrawn="1"/>
        </p:nvSpPr>
        <p:spPr bwMode="auto">
          <a:xfrm rot="16200000" flipH="1">
            <a:off x="5320061" y="779304"/>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1" name="Oval 75">
            <a:extLst>
              <a:ext uri="{FF2B5EF4-FFF2-40B4-BE49-F238E27FC236}">
                <a16:creationId xmlns:a16="http://schemas.microsoft.com/office/drawing/2014/main" id="{4BDBE6B3-BF75-44D3-A31F-AC8A896A3953}"/>
              </a:ext>
            </a:extLst>
          </p:cNvPr>
          <p:cNvSpPr>
            <a:spLocks noChangeArrowheads="1"/>
          </p:cNvSpPr>
          <p:nvPr userDrawn="1"/>
        </p:nvSpPr>
        <p:spPr bwMode="auto">
          <a:xfrm rot="16200000" flipH="1">
            <a:off x="5972658" y="619658"/>
            <a:ext cx="3743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2" name="Oval 76">
            <a:extLst>
              <a:ext uri="{FF2B5EF4-FFF2-40B4-BE49-F238E27FC236}">
                <a16:creationId xmlns:a16="http://schemas.microsoft.com/office/drawing/2014/main" id="{359D06E9-F6F8-4994-8E4B-1DD87C83267F}"/>
              </a:ext>
            </a:extLst>
          </p:cNvPr>
          <p:cNvSpPr>
            <a:spLocks noChangeArrowheads="1"/>
          </p:cNvSpPr>
          <p:nvPr userDrawn="1"/>
        </p:nvSpPr>
        <p:spPr bwMode="auto">
          <a:xfrm rot="16200000" flipH="1">
            <a:off x="5176127" y="455292"/>
            <a:ext cx="3392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3" name="Oval 77">
            <a:extLst>
              <a:ext uri="{FF2B5EF4-FFF2-40B4-BE49-F238E27FC236}">
                <a16:creationId xmlns:a16="http://schemas.microsoft.com/office/drawing/2014/main" id="{17909065-FD07-4B77-981E-61200E69BC66}"/>
              </a:ext>
            </a:extLst>
          </p:cNvPr>
          <p:cNvSpPr>
            <a:spLocks noChangeArrowheads="1"/>
          </p:cNvSpPr>
          <p:nvPr userDrawn="1"/>
        </p:nvSpPr>
        <p:spPr bwMode="auto">
          <a:xfrm rot="16200000" flipH="1">
            <a:off x="5733718"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428196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Custom Layout">
  <p:cSld name="7_Custom Layout">
    <p:spTree>
      <p:nvGrpSpPr>
        <p:cNvPr id="1" name="Shape 130"/>
        <p:cNvGrpSpPr/>
        <p:nvPr/>
      </p:nvGrpSpPr>
      <p:grpSpPr>
        <a:xfrm>
          <a:off x="0" y="0"/>
          <a:ext cx="0" cy="0"/>
          <a:chOff x="0" y="0"/>
          <a:chExt cx="0" cy="0"/>
        </a:xfrm>
      </p:grpSpPr>
      <p:sp>
        <p:nvSpPr>
          <p:cNvPr id="131" name="Google Shape;131;p28"/>
          <p:cNvSpPr txBox="1">
            <a:spLocks noGrp="1"/>
          </p:cNvSpPr>
          <p:nvPr>
            <p:ph type="body" idx="1"/>
          </p:nvPr>
        </p:nvSpPr>
        <p:spPr>
          <a:xfrm>
            <a:off x="889000" y="1216152"/>
            <a:ext cx="10414000" cy="52236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chemeClr val="dk1"/>
              </a:buClr>
              <a:buSzPts val="1400"/>
              <a:buFont typeface="Arial"/>
              <a:buNone/>
              <a:defRPr sz="1400" b="0" i="0" u="none" strike="noStrike" cap="none">
                <a:solidFill>
                  <a:schemeClr val="dk1"/>
                </a:solidFill>
                <a:latin typeface="Montserrat"/>
                <a:ea typeface="Montserrat"/>
                <a:cs typeface="Montserrat"/>
                <a:sym typeface="Montserrat"/>
              </a:defRPr>
            </a:lvl1pPr>
            <a:lvl2pPr marL="914400" marR="0" lvl="1"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2pPr>
            <a:lvl3pPr marL="1371600" marR="0" lvl="2"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3pPr>
            <a:lvl4pPr marL="1828800" marR="0" lvl="3"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4pPr>
            <a:lvl5pPr marL="2286000" marR="0" lvl="4"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32" name="Google Shape;132;p28"/>
          <p:cNvSpPr txBox="1">
            <a:spLocks noGrp="1"/>
          </p:cNvSpPr>
          <p:nvPr>
            <p:ph type="body" idx="2"/>
          </p:nvPr>
        </p:nvSpPr>
        <p:spPr>
          <a:xfrm>
            <a:off x="889000" y="569820"/>
            <a:ext cx="10414000" cy="646331"/>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chemeClr val="dk1"/>
              </a:buClr>
              <a:buSzPts val="3600"/>
              <a:buFont typeface="Arial"/>
              <a:buNone/>
              <a:defRPr sz="3600" b="1" i="0" u="none" strike="noStrike" cap="none">
                <a:solidFill>
                  <a:schemeClr val="dk1"/>
                </a:solidFill>
                <a:latin typeface="Montserrat"/>
                <a:ea typeface="Montserrat"/>
                <a:cs typeface="Montserrat"/>
                <a:sym typeface="Montserrat"/>
              </a:defRPr>
            </a:lvl1pPr>
            <a:lvl2pPr marL="914400" marR="0" lvl="1"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2pPr>
            <a:lvl3pPr marL="1371600" marR="0" lvl="2"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3pPr>
            <a:lvl4pPr marL="1828800" marR="0" lvl="3"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4pPr>
            <a:lvl5pPr marL="2286000" marR="0" lvl="4"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33" name="Google Shape;133;p28"/>
          <p:cNvSpPr/>
          <p:nvPr/>
        </p:nvSpPr>
        <p:spPr>
          <a:xfrm rot="-5400000" flipH="1">
            <a:off x="6184266" y="1443260"/>
            <a:ext cx="33926" cy="35076"/>
          </a:xfrm>
          <a:prstGeom prst="ellipse">
            <a:avLst/>
          </a:prstGeom>
          <a:gradFill>
            <a:gsLst>
              <a:gs pos="0">
                <a:srgbClr val="A71D21">
                  <a:alpha val="53725"/>
                </a:srgbClr>
              </a:gs>
              <a:gs pos="100000">
                <a:srgbClr val="CB2D0D">
                  <a:alpha val="0"/>
                </a:srgbClr>
              </a:gs>
            </a:gsLst>
            <a:lin ang="13500000" scaled="0"/>
          </a:gra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134" name="Google Shape;134;p28"/>
          <p:cNvSpPr>
            <a:spLocks noGrp="1"/>
          </p:cNvSpPr>
          <p:nvPr>
            <p:ph type="pic" idx="3"/>
          </p:nvPr>
        </p:nvSpPr>
        <p:spPr>
          <a:xfrm>
            <a:off x="0" y="-13526"/>
            <a:ext cx="12192000" cy="2768600"/>
          </a:xfrm>
          <a:prstGeom prst="rect">
            <a:avLst/>
          </a:prstGeom>
          <a:noFill/>
          <a:ln>
            <a:noFill/>
          </a:ln>
        </p:spPr>
      </p:sp>
    </p:spTree>
    <p:extLst>
      <p:ext uri="{BB962C8B-B14F-4D97-AF65-F5344CB8AC3E}">
        <p14:creationId xmlns:p14="http://schemas.microsoft.com/office/powerpoint/2010/main" val="2533161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1059B3-88FA-41E1-B760-14830A0038FA}"/>
              </a:ext>
            </a:extLst>
          </p:cNvPr>
          <p:cNvGraphicFramePr>
            <a:graphicFrameLocks noChangeAspect="1"/>
          </p:cNvGraphicFramePr>
          <p:nvPr userDrawn="1">
            <p:custDataLst>
              <p:tags r:id="rId13"/>
            </p:custDataLst>
            <p:extLst>
              <p:ext uri="{D42A27DB-BD31-4B8C-83A1-F6EECF244321}">
                <p14:modId xmlns:p14="http://schemas.microsoft.com/office/powerpoint/2010/main" val="307368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D81059B3-88FA-41E1-B760-14830A0038F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1" descr="Logo, company name&#10;&#10;Description automatically generated">
            <a:extLst>
              <a:ext uri="{FF2B5EF4-FFF2-40B4-BE49-F238E27FC236}">
                <a16:creationId xmlns:a16="http://schemas.microsoft.com/office/drawing/2014/main" id="{A8CD1E60-EAF4-47D4-8FBD-9E9E8DBDBFAF}"/>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9896" t="16095" r="9896" b="16095"/>
          <a:stretch/>
        </p:blipFill>
        <p:spPr>
          <a:xfrm>
            <a:off x="301723" y="6122477"/>
            <a:ext cx="917575" cy="530287"/>
          </a:xfrm>
          <a:prstGeom prst="rect">
            <a:avLst/>
          </a:prstGeom>
        </p:spPr>
      </p:pic>
      <p:sp>
        <p:nvSpPr>
          <p:cNvPr id="3" name="Rectangle: Top Corners Rounded 2">
            <a:extLst>
              <a:ext uri="{FF2B5EF4-FFF2-40B4-BE49-F238E27FC236}">
                <a16:creationId xmlns:a16="http://schemas.microsoft.com/office/drawing/2014/main" id="{29DD31D6-A4CB-4B63-BB4A-49B3D761739D}"/>
              </a:ext>
            </a:extLst>
          </p:cNvPr>
          <p:cNvSpPr/>
          <p:nvPr userDrawn="1"/>
        </p:nvSpPr>
        <p:spPr>
          <a:xfrm rot="16200000">
            <a:off x="11827068" y="6287830"/>
            <a:ext cx="354357" cy="375507"/>
          </a:xfrm>
          <a:prstGeom prst="round2SameRect">
            <a:avLst>
              <a:gd name="adj1" fmla="val 5000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Slide Number Placeholder 5">
            <a:extLst>
              <a:ext uri="{FF2B5EF4-FFF2-40B4-BE49-F238E27FC236}">
                <a16:creationId xmlns:a16="http://schemas.microsoft.com/office/drawing/2014/main" id="{C17E4315-1A31-4138-9A4D-634B475DD084}"/>
              </a:ext>
            </a:extLst>
          </p:cNvPr>
          <p:cNvSpPr txBox="1">
            <a:spLocks/>
          </p:cNvSpPr>
          <p:nvPr userDrawn="1"/>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8E6EA7-2C78-44B2-AD10-3A8167C5EBAD}" type="slidenum">
              <a:rPr lang="en-ID" b="1" smtClean="0">
                <a:solidFill>
                  <a:schemeClr val="tx1"/>
                </a:solidFill>
              </a:rPr>
              <a:pPr/>
              <a:t>‹#›</a:t>
            </a:fld>
            <a:endParaRPr lang="en-ID" b="1">
              <a:solidFill>
                <a:schemeClr val="tx1"/>
              </a:solidFill>
            </a:endParaRPr>
          </a:p>
        </p:txBody>
      </p:sp>
    </p:spTree>
    <p:extLst>
      <p:ext uri="{BB962C8B-B14F-4D97-AF65-F5344CB8AC3E}">
        <p14:creationId xmlns:p14="http://schemas.microsoft.com/office/powerpoint/2010/main" val="237488865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8.png"/><Relationship Id="rId3" Type="http://schemas.openxmlformats.org/officeDocument/2006/relationships/notesSlide" Target="../notesSlides/notesSlide10.xml"/><Relationship Id="rId7" Type="http://schemas.openxmlformats.org/officeDocument/2006/relationships/diagramData" Target="../diagrams/data2.xml"/><Relationship Id="rId12" Type="http://schemas.openxmlformats.org/officeDocument/2006/relationships/image" Target="../media/image12.png"/><Relationship Id="rId17" Type="http://schemas.openxmlformats.org/officeDocument/2006/relationships/image" Target="../media/image11.png"/><Relationship Id="rId2" Type="http://schemas.openxmlformats.org/officeDocument/2006/relationships/slideLayout" Target="../slideLayouts/slideLayout7.xml"/><Relationship Id="rId16" Type="http://schemas.openxmlformats.org/officeDocument/2006/relationships/image" Target="../media/image13.png"/><Relationship Id="rId1" Type="http://schemas.openxmlformats.org/officeDocument/2006/relationships/tags" Target="../tags/tag9.xml"/><Relationship Id="rId6" Type="http://schemas.openxmlformats.org/officeDocument/2006/relationships/image" Target="../media/image7.jpeg"/><Relationship Id="rId11" Type="http://schemas.microsoft.com/office/2007/relationships/diagramDrawing" Target="../diagrams/drawing2.xml"/><Relationship Id="rId5" Type="http://schemas.openxmlformats.org/officeDocument/2006/relationships/image" Target="../media/image1.emf"/><Relationship Id="rId15" Type="http://schemas.openxmlformats.org/officeDocument/2006/relationships/image" Target="../media/image10.png"/><Relationship Id="rId10" Type="http://schemas.openxmlformats.org/officeDocument/2006/relationships/diagramColors" Target="../diagrams/colors2.xml"/><Relationship Id="rId4" Type="http://schemas.openxmlformats.org/officeDocument/2006/relationships/oleObject" Target="../embeddings/oleObject6.bin"/><Relationship Id="rId9" Type="http://schemas.openxmlformats.org/officeDocument/2006/relationships/diagramQuickStyle" Target="../diagrams/quickStyle2.xml"/><Relationship Id="rId1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notesSlide" Target="../notesSlides/notesSlide14.xml"/><Relationship Id="rId7" Type="http://schemas.openxmlformats.org/officeDocument/2006/relationships/diagramData" Target="../diagrams/data3.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7.jpeg"/><Relationship Id="rId11" Type="http://schemas.microsoft.com/office/2007/relationships/diagramDrawing" Target="../diagrams/drawing3.xml"/><Relationship Id="rId5" Type="http://schemas.openxmlformats.org/officeDocument/2006/relationships/image" Target="../media/image1.emf"/><Relationship Id="rId10" Type="http://schemas.openxmlformats.org/officeDocument/2006/relationships/diagramColors" Target="../diagrams/colors3.xml"/><Relationship Id="rId4" Type="http://schemas.openxmlformats.org/officeDocument/2006/relationships/oleObject" Target="../embeddings/oleObject9.bin"/><Relationship Id="rId9"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notesSlide" Target="../notesSlides/notesSlide17.xml"/><Relationship Id="rId7" Type="http://schemas.openxmlformats.org/officeDocument/2006/relationships/diagramData" Target="../diagrams/data4.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7.jpeg"/><Relationship Id="rId11" Type="http://schemas.microsoft.com/office/2007/relationships/diagramDrawing" Target="../diagrams/drawing4.xml"/><Relationship Id="rId5" Type="http://schemas.openxmlformats.org/officeDocument/2006/relationships/image" Target="../media/image1.emf"/><Relationship Id="rId10" Type="http://schemas.openxmlformats.org/officeDocument/2006/relationships/diagramColors" Target="../diagrams/colors4.xml"/><Relationship Id="rId4" Type="http://schemas.openxmlformats.org/officeDocument/2006/relationships/oleObject" Target="../embeddings/oleObject10.bin"/><Relationship Id="rId9"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8" Type="http://schemas.openxmlformats.org/officeDocument/2006/relationships/hyperlink" Target="https://www.linkedin.com/company/vizio-consulting-inc/" TargetMode="External"/><Relationship Id="rId13" Type="http://schemas.openxmlformats.org/officeDocument/2006/relationships/image" Target="../media/image23.png"/><Relationship Id="rId18" Type="http://schemas.openxmlformats.org/officeDocument/2006/relationships/image" Target="../media/image27.svg"/><Relationship Id="rId3" Type="http://schemas.openxmlformats.org/officeDocument/2006/relationships/image" Target="../media/image16.jpeg"/><Relationship Id="rId21" Type="http://schemas.openxmlformats.org/officeDocument/2006/relationships/image" Target="../media/image30.png"/><Relationship Id="rId7" Type="http://schemas.openxmlformats.org/officeDocument/2006/relationships/image" Target="../media/image20.png"/><Relationship Id="rId12" Type="http://schemas.openxmlformats.org/officeDocument/2006/relationships/hyperlink" Target="https://www.youtube.com/channel/UCce5ZKOWYBU9wly-iYJKC0Q/featured" TargetMode="External"/><Relationship Id="rId17" Type="http://schemas.openxmlformats.org/officeDocument/2006/relationships/image" Target="../media/image26.png"/><Relationship Id="rId2" Type="http://schemas.openxmlformats.org/officeDocument/2006/relationships/notesSlide" Target="../notesSlides/notesSlide19.xml"/><Relationship Id="rId16" Type="http://schemas.openxmlformats.org/officeDocument/2006/relationships/hyperlink" Target="https://www.youtube.com/channel/UCce5ZKOWYBU9wly-iYJKC0Q" TargetMode="External"/><Relationship Id="rId20"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2.png"/><Relationship Id="rId5" Type="http://schemas.openxmlformats.org/officeDocument/2006/relationships/image" Target="../media/image18.png"/><Relationship Id="rId15" Type="http://schemas.openxmlformats.org/officeDocument/2006/relationships/image" Target="../media/image25.svg"/><Relationship Id="rId10" Type="http://schemas.openxmlformats.org/officeDocument/2006/relationships/hyperlink" Target="https://twitter.com/VizioConsulting" TargetMode="External"/><Relationship Id="rId19"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image" Target="../media/image21.png"/><Relationship Id="rId1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hyperlink" Target="https://www.sap.com/canada/products/cloud-analytics/features.html" TargetMode="External"/><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8.png"/><Relationship Id="rId3" Type="http://schemas.openxmlformats.org/officeDocument/2006/relationships/notesSlide" Target="../notesSlides/notesSlide23.xml"/><Relationship Id="rId7" Type="http://schemas.openxmlformats.org/officeDocument/2006/relationships/image" Target="../media/image33.png"/><Relationship Id="rId12" Type="http://schemas.openxmlformats.org/officeDocument/2006/relationships/image" Target="../media/image37.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32.jpeg"/><Relationship Id="rId11" Type="http://schemas.openxmlformats.org/officeDocument/2006/relationships/image" Target="../media/image36.png"/><Relationship Id="rId5" Type="http://schemas.openxmlformats.org/officeDocument/2006/relationships/image" Target="../media/image1.emf"/><Relationship Id="rId10" Type="http://schemas.openxmlformats.org/officeDocument/2006/relationships/image" Target="../media/image35.svg"/><Relationship Id="rId4" Type="http://schemas.openxmlformats.org/officeDocument/2006/relationships/oleObject" Target="../embeddings/oleObject13.bin"/><Relationship Id="rId9" Type="http://schemas.openxmlformats.org/officeDocument/2006/relationships/image" Target="../media/image34.png"/></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image" Target="../media/image40.png"/><Relationship Id="rId3" Type="http://schemas.openxmlformats.org/officeDocument/2006/relationships/notesSlide" Target="../notesSlides/notesSlide24.xml"/><Relationship Id="rId7" Type="http://schemas.openxmlformats.org/officeDocument/2006/relationships/diagramData" Target="../diagrams/data5.xml"/><Relationship Id="rId12" Type="http://schemas.openxmlformats.org/officeDocument/2006/relationships/image" Target="../media/image39.png"/><Relationship Id="rId2" Type="http://schemas.openxmlformats.org/officeDocument/2006/relationships/slideLayout" Target="../slideLayouts/slideLayout7.xml"/><Relationship Id="rId16" Type="http://schemas.openxmlformats.org/officeDocument/2006/relationships/image" Target="../media/image12.png"/><Relationship Id="rId1" Type="http://schemas.openxmlformats.org/officeDocument/2006/relationships/tags" Target="../tags/tag22.xml"/><Relationship Id="rId6" Type="http://schemas.openxmlformats.org/officeDocument/2006/relationships/image" Target="../media/image7.jpeg"/><Relationship Id="rId11" Type="http://schemas.microsoft.com/office/2007/relationships/diagramDrawing" Target="../diagrams/drawing5.xml"/><Relationship Id="rId5" Type="http://schemas.openxmlformats.org/officeDocument/2006/relationships/image" Target="../media/image1.emf"/><Relationship Id="rId15" Type="http://schemas.openxmlformats.org/officeDocument/2006/relationships/image" Target="../media/image42.png"/><Relationship Id="rId10" Type="http://schemas.openxmlformats.org/officeDocument/2006/relationships/diagramColors" Target="../diagrams/colors5.xml"/><Relationship Id="rId4" Type="http://schemas.openxmlformats.org/officeDocument/2006/relationships/oleObject" Target="../embeddings/oleObject14.bin"/><Relationship Id="rId9" Type="http://schemas.openxmlformats.org/officeDocument/2006/relationships/diagramQuickStyle" Target="../diagrams/quickStyle5.xml"/><Relationship Id="rId1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hyperlink" Target="http://www.vizioconsulting.com/"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9.png"/><Relationship Id="rId3" Type="http://schemas.openxmlformats.org/officeDocument/2006/relationships/notesSlide" Target="../notesSlides/notesSlide9.xml"/><Relationship Id="rId7" Type="http://schemas.openxmlformats.org/officeDocument/2006/relationships/diagramData" Target="../diagrams/data1.xml"/><Relationship Id="rId12"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7.jpeg"/><Relationship Id="rId11" Type="http://schemas.microsoft.com/office/2007/relationships/diagramDrawing" Target="../diagrams/drawing1.xml"/><Relationship Id="rId5" Type="http://schemas.openxmlformats.org/officeDocument/2006/relationships/image" Target="../media/image1.emf"/><Relationship Id="rId15" Type="http://schemas.openxmlformats.org/officeDocument/2006/relationships/image" Target="../media/image11.png"/><Relationship Id="rId10" Type="http://schemas.openxmlformats.org/officeDocument/2006/relationships/diagramColors" Target="../diagrams/colors1.xml"/><Relationship Id="rId4" Type="http://schemas.openxmlformats.org/officeDocument/2006/relationships/oleObject" Target="../embeddings/oleObject6.bin"/><Relationship Id="rId9" Type="http://schemas.openxmlformats.org/officeDocument/2006/relationships/diagramQuickStyle" Target="../diagrams/quickStyle1.xml"/><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orking on the computer&#10;&#10;Description automatically generated with medium confidence">
            <a:extLst>
              <a:ext uri="{FF2B5EF4-FFF2-40B4-BE49-F238E27FC236}">
                <a16:creationId xmlns:a16="http://schemas.microsoft.com/office/drawing/2014/main" id="{93C6EEB9-4462-9532-C192-BF2D38E0E6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99" y="-88042"/>
            <a:ext cx="12192000" cy="6958094"/>
          </a:xfrm>
          <a:prstGeom prst="rect">
            <a:avLst/>
          </a:prstGeom>
        </p:spPr>
      </p:pic>
      <p:graphicFrame>
        <p:nvGraphicFramePr>
          <p:cNvPr id="2" name="Object 1" hidden="1">
            <a:extLst>
              <a:ext uri="{FF2B5EF4-FFF2-40B4-BE49-F238E27FC236}">
                <a16:creationId xmlns:a16="http://schemas.microsoft.com/office/drawing/2014/main" id="{FBE1FB45-CC32-4B84-91E6-AD19E532B8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FBE1FB45-CC32-4B84-91E6-AD19E532B8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1BA4B60-7D78-4B37-B9C6-E4863C4A96A5}"/>
              </a:ext>
            </a:extLst>
          </p:cNvPr>
          <p:cNvSpPr/>
          <p:nvPr/>
        </p:nvSpPr>
        <p:spPr>
          <a:xfrm>
            <a:off x="1672" y="-87834"/>
            <a:ext cx="12218376" cy="6971893"/>
          </a:xfrm>
          <a:prstGeom prst="rect">
            <a:avLst/>
          </a:prstGeom>
          <a:gradFill flip="none" rotWithShape="1">
            <a:gsLst>
              <a:gs pos="0">
                <a:schemeClr val="bg1">
                  <a:alpha val="99000"/>
                </a:schemeClr>
              </a:gs>
              <a:gs pos="100000">
                <a:schemeClr val="bg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grpSp>
        <p:nvGrpSpPr>
          <p:cNvPr id="18" name="Group 17">
            <a:extLst>
              <a:ext uri="{FF2B5EF4-FFF2-40B4-BE49-F238E27FC236}">
                <a16:creationId xmlns:a16="http://schemas.microsoft.com/office/drawing/2014/main" id="{EE0123DD-AB52-4B18-B45F-BB2E02146400}"/>
              </a:ext>
            </a:extLst>
          </p:cNvPr>
          <p:cNvGrpSpPr/>
          <p:nvPr/>
        </p:nvGrpSpPr>
        <p:grpSpPr>
          <a:xfrm>
            <a:off x="6987242" y="-142855"/>
            <a:ext cx="4938132" cy="7366000"/>
            <a:chOff x="8513940" y="2"/>
            <a:chExt cx="4597571" cy="7090513"/>
          </a:xfrm>
        </p:grpSpPr>
        <p:grpSp>
          <p:nvGrpSpPr>
            <p:cNvPr id="19" name="Group 18">
              <a:extLst>
                <a:ext uri="{FF2B5EF4-FFF2-40B4-BE49-F238E27FC236}">
                  <a16:creationId xmlns:a16="http://schemas.microsoft.com/office/drawing/2014/main" id="{59F8C151-56B8-4343-8B36-8D0658799018}"/>
                </a:ext>
              </a:extLst>
            </p:cNvPr>
            <p:cNvGrpSpPr>
              <a:grpSpLocks noChangeAspect="1"/>
            </p:cNvGrpSpPr>
            <p:nvPr/>
          </p:nvGrpSpPr>
          <p:grpSpPr bwMode="auto">
            <a:xfrm rot="16200000" flipH="1">
              <a:off x="8727917" y="-213975"/>
              <a:ext cx="4169618" cy="4597571"/>
              <a:chOff x="1526" y="-393"/>
              <a:chExt cx="4628" cy="5103"/>
            </a:xfrm>
            <a:gradFill>
              <a:gsLst>
                <a:gs pos="0">
                  <a:schemeClr val="accent1"/>
                </a:gs>
                <a:gs pos="100000">
                  <a:schemeClr val="accent4">
                    <a:alpha val="0"/>
                  </a:schemeClr>
                </a:gs>
              </a:gsLst>
              <a:lin ang="13500000" scaled="1"/>
            </a:gradFill>
          </p:grpSpPr>
          <p:sp>
            <p:nvSpPr>
              <p:cNvPr id="101" name="Freeform 5">
                <a:extLst>
                  <a:ext uri="{FF2B5EF4-FFF2-40B4-BE49-F238E27FC236}">
                    <a16:creationId xmlns:a16="http://schemas.microsoft.com/office/drawing/2014/main" id="{75B6C808-288A-480B-9179-00C0B33AB061}"/>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2" name="Freeform 6">
                <a:extLst>
                  <a:ext uri="{FF2B5EF4-FFF2-40B4-BE49-F238E27FC236}">
                    <a16:creationId xmlns:a16="http://schemas.microsoft.com/office/drawing/2014/main" id="{C88EAADD-D459-4C0B-8824-47767540749C}"/>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3" name="Freeform 7">
                <a:extLst>
                  <a:ext uri="{FF2B5EF4-FFF2-40B4-BE49-F238E27FC236}">
                    <a16:creationId xmlns:a16="http://schemas.microsoft.com/office/drawing/2014/main" id="{A19B18FE-3C3F-40DD-92EE-4913FBB536EB}"/>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4" name="Freeform 8">
                <a:extLst>
                  <a:ext uri="{FF2B5EF4-FFF2-40B4-BE49-F238E27FC236}">
                    <a16:creationId xmlns:a16="http://schemas.microsoft.com/office/drawing/2014/main" id="{5C7605D4-E9C3-4B72-86E3-0A882A26EB4A}"/>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5" name="Freeform 9">
                <a:extLst>
                  <a:ext uri="{FF2B5EF4-FFF2-40B4-BE49-F238E27FC236}">
                    <a16:creationId xmlns:a16="http://schemas.microsoft.com/office/drawing/2014/main" id="{41608C92-C235-42B0-A63C-5EB2D464596C}"/>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6" name="Freeform 10">
                <a:extLst>
                  <a:ext uri="{FF2B5EF4-FFF2-40B4-BE49-F238E27FC236}">
                    <a16:creationId xmlns:a16="http://schemas.microsoft.com/office/drawing/2014/main" id="{BFB56BB6-780F-472E-8D6A-9ECA89724930}"/>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7" name="Freeform 11">
                <a:extLst>
                  <a:ext uri="{FF2B5EF4-FFF2-40B4-BE49-F238E27FC236}">
                    <a16:creationId xmlns:a16="http://schemas.microsoft.com/office/drawing/2014/main" id="{304D6C65-5283-4E26-83B0-F7BE6991CAB4}"/>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8" name="Freeform 12">
                <a:extLst>
                  <a:ext uri="{FF2B5EF4-FFF2-40B4-BE49-F238E27FC236}">
                    <a16:creationId xmlns:a16="http://schemas.microsoft.com/office/drawing/2014/main" id="{2406E888-1563-400E-B6D3-4B06F68CC2F0}"/>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9" name="Freeform 13">
                <a:extLst>
                  <a:ext uri="{FF2B5EF4-FFF2-40B4-BE49-F238E27FC236}">
                    <a16:creationId xmlns:a16="http://schemas.microsoft.com/office/drawing/2014/main" id="{6533D6AD-1FEC-49B7-B428-4BE7CAA4BFC3}"/>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0" name="Freeform 14">
                <a:extLst>
                  <a:ext uri="{FF2B5EF4-FFF2-40B4-BE49-F238E27FC236}">
                    <a16:creationId xmlns:a16="http://schemas.microsoft.com/office/drawing/2014/main" id="{64FC9E22-2887-4182-BCD1-6DD55D27ED5E}"/>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1" name="Freeform 15">
                <a:extLst>
                  <a:ext uri="{FF2B5EF4-FFF2-40B4-BE49-F238E27FC236}">
                    <a16:creationId xmlns:a16="http://schemas.microsoft.com/office/drawing/2014/main" id="{3A3EBB73-E8B5-4268-B260-D04632188DE9}"/>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2" name="Freeform 16">
                <a:extLst>
                  <a:ext uri="{FF2B5EF4-FFF2-40B4-BE49-F238E27FC236}">
                    <a16:creationId xmlns:a16="http://schemas.microsoft.com/office/drawing/2014/main" id="{661ADAAD-B319-4391-B191-EA43CE2E128E}"/>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3" name="Freeform 17">
                <a:extLst>
                  <a:ext uri="{FF2B5EF4-FFF2-40B4-BE49-F238E27FC236}">
                    <a16:creationId xmlns:a16="http://schemas.microsoft.com/office/drawing/2014/main" id="{C3146F48-18C3-406D-9DC2-7EA9ECB55890}"/>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4" name="Freeform 18">
                <a:extLst>
                  <a:ext uri="{FF2B5EF4-FFF2-40B4-BE49-F238E27FC236}">
                    <a16:creationId xmlns:a16="http://schemas.microsoft.com/office/drawing/2014/main" id="{B79AB2FD-92FB-481F-BDC5-41A615985C47}"/>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5" name="Freeform 19">
                <a:extLst>
                  <a:ext uri="{FF2B5EF4-FFF2-40B4-BE49-F238E27FC236}">
                    <a16:creationId xmlns:a16="http://schemas.microsoft.com/office/drawing/2014/main" id="{94D38468-F629-474F-AEC1-6E94CC9F35A7}"/>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6" name="Freeform 20">
                <a:extLst>
                  <a:ext uri="{FF2B5EF4-FFF2-40B4-BE49-F238E27FC236}">
                    <a16:creationId xmlns:a16="http://schemas.microsoft.com/office/drawing/2014/main" id="{7AE3A36D-6E0E-4716-9115-0D92FDB5AAF1}"/>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7" name="Freeform 21">
                <a:extLst>
                  <a:ext uri="{FF2B5EF4-FFF2-40B4-BE49-F238E27FC236}">
                    <a16:creationId xmlns:a16="http://schemas.microsoft.com/office/drawing/2014/main" id="{985901EC-C3B9-49B6-B39C-BD69589383D9}"/>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8" name="Freeform 22">
                <a:extLst>
                  <a:ext uri="{FF2B5EF4-FFF2-40B4-BE49-F238E27FC236}">
                    <a16:creationId xmlns:a16="http://schemas.microsoft.com/office/drawing/2014/main" id="{E71ED4C9-C142-430C-AA71-0C75A9C3D49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9" name="Freeform 23">
                <a:extLst>
                  <a:ext uri="{FF2B5EF4-FFF2-40B4-BE49-F238E27FC236}">
                    <a16:creationId xmlns:a16="http://schemas.microsoft.com/office/drawing/2014/main" id="{11C754B3-95A0-41E3-9AF4-71AE4A413456}"/>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0" name="Oval 24">
                <a:extLst>
                  <a:ext uri="{FF2B5EF4-FFF2-40B4-BE49-F238E27FC236}">
                    <a16:creationId xmlns:a16="http://schemas.microsoft.com/office/drawing/2014/main" id="{51C06CF7-D598-416A-A7AE-D0A27F9359F7}"/>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1" name="Oval 25">
                <a:extLst>
                  <a:ext uri="{FF2B5EF4-FFF2-40B4-BE49-F238E27FC236}">
                    <a16:creationId xmlns:a16="http://schemas.microsoft.com/office/drawing/2014/main" id="{440A403F-43CD-4EA4-9E46-7AB7BE8B0C16}"/>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2" name="Oval 26">
                <a:extLst>
                  <a:ext uri="{FF2B5EF4-FFF2-40B4-BE49-F238E27FC236}">
                    <a16:creationId xmlns:a16="http://schemas.microsoft.com/office/drawing/2014/main" id="{179BFB41-E1C1-446E-A612-FB4C92A63EEE}"/>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3" name="Oval 27">
                <a:extLst>
                  <a:ext uri="{FF2B5EF4-FFF2-40B4-BE49-F238E27FC236}">
                    <a16:creationId xmlns:a16="http://schemas.microsoft.com/office/drawing/2014/main" id="{6C45BE49-AB2D-45D7-84FC-572B82B9ACEA}"/>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4" name="Oval 28">
                <a:extLst>
                  <a:ext uri="{FF2B5EF4-FFF2-40B4-BE49-F238E27FC236}">
                    <a16:creationId xmlns:a16="http://schemas.microsoft.com/office/drawing/2014/main" id="{4A63719A-D361-4BC1-930F-E308ECD6A923}"/>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5" name="Oval 29">
                <a:extLst>
                  <a:ext uri="{FF2B5EF4-FFF2-40B4-BE49-F238E27FC236}">
                    <a16:creationId xmlns:a16="http://schemas.microsoft.com/office/drawing/2014/main" id="{9CF60955-31C3-48F9-AB77-CA69DBDC7881}"/>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6" name="Oval 30">
                <a:extLst>
                  <a:ext uri="{FF2B5EF4-FFF2-40B4-BE49-F238E27FC236}">
                    <a16:creationId xmlns:a16="http://schemas.microsoft.com/office/drawing/2014/main" id="{F24B5980-C18C-49D2-BCBE-A005DAF87A26}"/>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7" name="Oval 31">
                <a:extLst>
                  <a:ext uri="{FF2B5EF4-FFF2-40B4-BE49-F238E27FC236}">
                    <a16:creationId xmlns:a16="http://schemas.microsoft.com/office/drawing/2014/main" id="{EBACD629-0FE9-4B88-A423-BBF8A63FD29A}"/>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8" name="Oval 32">
                <a:extLst>
                  <a:ext uri="{FF2B5EF4-FFF2-40B4-BE49-F238E27FC236}">
                    <a16:creationId xmlns:a16="http://schemas.microsoft.com/office/drawing/2014/main" id="{DB886E36-DFA2-4CD4-B724-227DD1265C6A}"/>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9" name="Oval 33">
                <a:extLst>
                  <a:ext uri="{FF2B5EF4-FFF2-40B4-BE49-F238E27FC236}">
                    <a16:creationId xmlns:a16="http://schemas.microsoft.com/office/drawing/2014/main" id="{0B33A7F3-2D10-453F-B6AF-1904280EB53D}"/>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0" name="Oval 34">
                <a:extLst>
                  <a:ext uri="{FF2B5EF4-FFF2-40B4-BE49-F238E27FC236}">
                    <a16:creationId xmlns:a16="http://schemas.microsoft.com/office/drawing/2014/main" id="{87CCBCBF-752C-4B3F-A434-7A674E57C11D}"/>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1" name="Oval 35">
                <a:extLst>
                  <a:ext uri="{FF2B5EF4-FFF2-40B4-BE49-F238E27FC236}">
                    <a16:creationId xmlns:a16="http://schemas.microsoft.com/office/drawing/2014/main" id="{13F346C2-5EEE-40BC-A4A1-3D6DB8DF4D77}"/>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2" name="Oval 36">
                <a:extLst>
                  <a:ext uri="{FF2B5EF4-FFF2-40B4-BE49-F238E27FC236}">
                    <a16:creationId xmlns:a16="http://schemas.microsoft.com/office/drawing/2014/main" id="{4E347F83-0694-46B6-8E63-C00C4AB20336}"/>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3" name="Oval 37">
                <a:extLst>
                  <a:ext uri="{FF2B5EF4-FFF2-40B4-BE49-F238E27FC236}">
                    <a16:creationId xmlns:a16="http://schemas.microsoft.com/office/drawing/2014/main" id="{FA462347-F647-49B4-A114-9D2D431321DC}"/>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4" name="Oval 38">
                <a:extLst>
                  <a:ext uri="{FF2B5EF4-FFF2-40B4-BE49-F238E27FC236}">
                    <a16:creationId xmlns:a16="http://schemas.microsoft.com/office/drawing/2014/main" id="{3E37EC8F-2229-4EFA-83DC-4E36EE28ED3D}"/>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5" name="Oval 39">
                <a:extLst>
                  <a:ext uri="{FF2B5EF4-FFF2-40B4-BE49-F238E27FC236}">
                    <a16:creationId xmlns:a16="http://schemas.microsoft.com/office/drawing/2014/main" id="{ABC3C8DB-0316-4641-8531-FF13C20DB7A4}"/>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6" name="Oval 40">
                <a:extLst>
                  <a:ext uri="{FF2B5EF4-FFF2-40B4-BE49-F238E27FC236}">
                    <a16:creationId xmlns:a16="http://schemas.microsoft.com/office/drawing/2014/main" id="{1DCE7461-8997-4973-A0ED-DB41556C4A85}"/>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7" name="Oval 41">
                <a:extLst>
                  <a:ext uri="{FF2B5EF4-FFF2-40B4-BE49-F238E27FC236}">
                    <a16:creationId xmlns:a16="http://schemas.microsoft.com/office/drawing/2014/main" id="{25FE19ED-C638-4DC2-BDDF-128B743FEFAE}"/>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8" name="Oval 42">
                <a:extLst>
                  <a:ext uri="{FF2B5EF4-FFF2-40B4-BE49-F238E27FC236}">
                    <a16:creationId xmlns:a16="http://schemas.microsoft.com/office/drawing/2014/main" id="{FB63A139-EE9D-490E-BE27-FC31271E7046}"/>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9" name="Oval 43">
                <a:extLst>
                  <a:ext uri="{FF2B5EF4-FFF2-40B4-BE49-F238E27FC236}">
                    <a16:creationId xmlns:a16="http://schemas.microsoft.com/office/drawing/2014/main" id="{D2BD274D-A03E-412D-9CAD-B30821BCBEE5}"/>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0" name="Oval 44">
                <a:extLst>
                  <a:ext uri="{FF2B5EF4-FFF2-40B4-BE49-F238E27FC236}">
                    <a16:creationId xmlns:a16="http://schemas.microsoft.com/office/drawing/2014/main" id="{2E9B9E0D-D78F-450A-B6F2-7231A3A77BCA}"/>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1" name="Freeform 45">
                <a:extLst>
                  <a:ext uri="{FF2B5EF4-FFF2-40B4-BE49-F238E27FC236}">
                    <a16:creationId xmlns:a16="http://schemas.microsoft.com/office/drawing/2014/main" id="{5DF0C90B-947A-4AA6-9E6E-C865634AC2F2}"/>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2" name="Freeform 46">
                <a:extLst>
                  <a:ext uri="{FF2B5EF4-FFF2-40B4-BE49-F238E27FC236}">
                    <a16:creationId xmlns:a16="http://schemas.microsoft.com/office/drawing/2014/main" id="{B424F1BD-8CD4-4602-86FC-84DDFB50837F}"/>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3" name="Freeform 47">
                <a:extLst>
                  <a:ext uri="{FF2B5EF4-FFF2-40B4-BE49-F238E27FC236}">
                    <a16:creationId xmlns:a16="http://schemas.microsoft.com/office/drawing/2014/main" id="{CFCB23AD-20C0-4B9D-99A5-323008993B93}"/>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4" name="Freeform 48">
                <a:extLst>
                  <a:ext uri="{FF2B5EF4-FFF2-40B4-BE49-F238E27FC236}">
                    <a16:creationId xmlns:a16="http://schemas.microsoft.com/office/drawing/2014/main" id="{D331D238-3C95-4CFC-BB8D-2CE2909E39FE}"/>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5" name="Freeform 49">
                <a:extLst>
                  <a:ext uri="{FF2B5EF4-FFF2-40B4-BE49-F238E27FC236}">
                    <a16:creationId xmlns:a16="http://schemas.microsoft.com/office/drawing/2014/main" id="{57B62219-3524-4006-9834-E2670082A5AD}"/>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6" name="Freeform 50">
                <a:extLst>
                  <a:ext uri="{FF2B5EF4-FFF2-40B4-BE49-F238E27FC236}">
                    <a16:creationId xmlns:a16="http://schemas.microsoft.com/office/drawing/2014/main" id="{0F107BE5-FFE1-47E3-9B60-E9C5FE04041A}"/>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7" name="Freeform 51">
                <a:extLst>
                  <a:ext uri="{FF2B5EF4-FFF2-40B4-BE49-F238E27FC236}">
                    <a16:creationId xmlns:a16="http://schemas.microsoft.com/office/drawing/2014/main" id="{80638BFF-2267-4B74-9F7A-8C89848CFEEE}"/>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8" name="Freeform 52">
                <a:extLst>
                  <a:ext uri="{FF2B5EF4-FFF2-40B4-BE49-F238E27FC236}">
                    <a16:creationId xmlns:a16="http://schemas.microsoft.com/office/drawing/2014/main" id="{B661CBBA-FCA8-4DB0-96D6-7041502FF933}"/>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9" name="Freeform 53">
                <a:extLst>
                  <a:ext uri="{FF2B5EF4-FFF2-40B4-BE49-F238E27FC236}">
                    <a16:creationId xmlns:a16="http://schemas.microsoft.com/office/drawing/2014/main" id="{CD693446-83FB-4BBB-840E-F474A6D8EAD8}"/>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0" name="Freeform 54">
                <a:extLst>
                  <a:ext uri="{FF2B5EF4-FFF2-40B4-BE49-F238E27FC236}">
                    <a16:creationId xmlns:a16="http://schemas.microsoft.com/office/drawing/2014/main" id="{A06980AE-9255-491A-8793-EB65FAEF7177}"/>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1" name="Freeform 55">
                <a:extLst>
                  <a:ext uri="{FF2B5EF4-FFF2-40B4-BE49-F238E27FC236}">
                    <a16:creationId xmlns:a16="http://schemas.microsoft.com/office/drawing/2014/main" id="{276E220C-D210-425D-AE7F-603FE3A4B7DB}"/>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2" name="Freeform 56">
                <a:extLst>
                  <a:ext uri="{FF2B5EF4-FFF2-40B4-BE49-F238E27FC236}">
                    <a16:creationId xmlns:a16="http://schemas.microsoft.com/office/drawing/2014/main" id="{A9E3DDC8-56D3-4F19-A754-4B482E7AF875}"/>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3" name="Freeform 57">
                <a:extLst>
                  <a:ext uri="{FF2B5EF4-FFF2-40B4-BE49-F238E27FC236}">
                    <a16:creationId xmlns:a16="http://schemas.microsoft.com/office/drawing/2014/main" id="{A50BC3CB-2958-443F-8E49-1B05A96CA442}"/>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4" name="Freeform 58">
                <a:extLst>
                  <a:ext uri="{FF2B5EF4-FFF2-40B4-BE49-F238E27FC236}">
                    <a16:creationId xmlns:a16="http://schemas.microsoft.com/office/drawing/2014/main" id="{67B87638-EDC6-434F-BDC8-EF81EBD10AED}"/>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5" name="Freeform 59">
                <a:extLst>
                  <a:ext uri="{FF2B5EF4-FFF2-40B4-BE49-F238E27FC236}">
                    <a16:creationId xmlns:a16="http://schemas.microsoft.com/office/drawing/2014/main" id="{290B5DC9-D066-4B1F-B92B-02CA8F58C681}"/>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6" name="Freeform 60">
                <a:extLst>
                  <a:ext uri="{FF2B5EF4-FFF2-40B4-BE49-F238E27FC236}">
                    <a16:creationId xmlns:a16="http://schemas.microsoft.com/office/drawing/2014/main" id="{0D03C78F-3E4D-444C-8760-EECF2C1E0FBA}"/>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7" name="Freeform 61">
                <a:extLst>
                  <a:ext uri="{FF2B5EF4-FFF2-40B4-BE49-F238E27FC236}">
                    <a16:creationId xmlns:a16="http://schemas.microsoft.com/office/drawing/2014/main" id="{FE64FDC6-A408-46EE-87D0-531CFAFD42E6}"/>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8" name="Freeform 62">
                <a:extLst>
                  <a:ext uri="{FF2B5EF4-FFF2-40B4-BE49-F238E27FC236}">
                    <a16:creationId xmlns:a16="http://schemas.microsoft.com/office/drawing/2014/main" id="{7B074C31-C40D-4D5C-8474-8BCF9588C652}"/>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9" name="Freeform 63">
                <a:extLst>
                  <a:ext uri="{FF2B5EF4-FFF2-40B4-BE49-F238E27FC236}">
                    <a16:creationId xmlns:a16="http://schemas.microsoft.com/office/drawing/2014/main" id="{487B9FB8-03AD-4A46-8393-9006AD5F98BC}"/>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0" name="Oval 64">
                <a:extLst>
                  <a:ext uri="{FF2B5EF4-FFF2-40B4-BE49-F238E27FC236}">
                    <a16:creationId xmlns:a16="http://schemas.microsoft.com/office/drawing/2014/main" id="{2F645806-AE2B-42E8-A9F6-D299F679CBF4}"/>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1" name="Oval 65">
                <a:extLst>
                  <a:ext uri="{FF2B5EF4-FFF2-40B4-BE49-F238E27FC236}">
                    <a16:creationId xmlns:a16="http://schemas.microsoft.com/office/drawing/2014/main" id="{76FDF4EA-0BCB-45A7-936B-17287AA20CE1}"/>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2" name="Oval 66">
                <a:extLst>
                  <a:ext uri="{FF2B5EF4-FFF2-40B4-BE49-F238E27FC236}">
                    <a16:creationId xmlns:a16="http://schemas.microsoft.com/office/drawing/2014/main" id="{F661003A-943D-489A-B3D3-93E544597F01}"/>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3" name="Oval 67">
                <a:extLst>
                  <a:ext uri="{FF2B5EF4-FFF2-40B4-BE49-F238E27FC236}">
                    <a16:creationId xmlns:a16="http://schemas.microsoft.com/office/drawing/2014/main" id="{99039293-F1DF-4E56-A48B-6440C4E8C717}"/>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4" name="Oval 68">
                <a:extLst>
                  <a:ext uri="{FF2B5EF4-FFF2-40B4-BE49-F238E27FC236}">
                    <a16:creationId xmlns:a16="http://schemas.microsoft.com/office/drawing/2014/main" id="{7721C19F-BC4D-4ED9-AE75-B4B9F2D7757D}"/>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5" name="Oval 69">
                <a:extLst>
                  <a:ext uri="{FF2B5EF4-FFF2-40B4-BE49-F238E27FC236}">
                    <a16:creationId xmlns:a16="http://schemas.microsoft.com/office/drawing/2014/main" id="{5A405C7B-40B6-4E2F-9C8C-60F71A111954}"/>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6" name="Oval 70">
                <a:extLst>
                  <a:ext uri="{FF2B5EF4-FFF2-40B4-BE49-F238E27FC236}">
                    <a16:creationId xmlns:a16="http://schemas.microsoft.com/office/drawing/2014/main" id="{34BD52CB-FAF8-4136-ABA9-E39C31906BD5}"/>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7" name="Oval 71">
                <a:extLst>
                  <a:ext uri="{FF2B5EF4-FFF2-40B4-BE49-F238E27FC236}">
                    <a16:creationId xmlns:a16="http://schemas.microsoft.com/office/drawing/2014/main" id="{901989BD-56F6-4A15-ABFC-5A6155AD3E40}"/>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8" name="Oval 72">
                <a:extLst>
                  <a:ext uri="{FF2B5EF4-FFF2-40B4-BE49-F238E27FC236}">
                    <a16:creationId xmlns:a16="http://schemas.microsoft.com/office/drawing/2014/main" id="{F5813C24-CA82-4256-8F8D-9899492D79CC}"/>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9" name="Oval 73">
                <a:extLst>
                  <a:ext uri="{FF2B5EF4-FFF2-40B4-BE49-F238E27FC236}">
                    <a16:creationId xmlns:a16="http://schemas.microsoft.com/office/drawing/2014/main" id="{AB8EBB78-508B-407C-8312-31FD8C26720D}"/>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0" name="Oval 74">
                <a:extLst>
                  <a:ext uri="{FF2B5EF4-FFF2-40B4-BE49-F238E27FC236}">
                    <a16:creationId xmlns:a16="http://schemas.microsoft.com/office/drawing/2014/main" id="{0A49B772-D150-49C2-BE01-11274BC41F2F}"/>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1" name="Oval 75">
                <a:extLst>
                  <a:ext uri="{FF2B5EF4-FFF2-40B4-BE49-F238E27FC236}">
                    <a16:creationId xmlns:a16="http://schemas.microsoft.com/office/drawing/2014/main" id="{68838B5C-F1F6-4EDA-B1E5-D00EBCFE94D6}"/>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2" name="Oval 76">
                <a:extLst>
                  <a:ext uri="{FF2B5EF4-FFF2-40B4-BE49-F238E27FC236}">
                    <a16:creationId xmlns:a16="http://schemas.microsoft.com/office/drawing/2014/main" id="{BD031DD5-FE29-4CDA-9E2B-0A49B1E06615}"/>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3" name="Oval 77">
                <a:extLst>
                  <a:ext uri="{FF2B5EF4-FFF2-40B4-BE49-F238E27FC236}">
                    <a16:creationId xmlns:a16="http://schemas.microsoft.com/office/drawing/2014/main" id="{E892DEA2-9F2A-426E-B9AF-508A38CFBA9A}"/>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4" name="Oval 78">
                <a:extLst>
                  <a:ext uri="{FF2B5EF4-FFF2-40B4-BE49-F238E27FC236}">
                    <a16:creationId xmlns:a16="http://schemas.microsoft.com/office/drawing/2014/main" id="{6A2E38D5-302C-43C4-947C-98089A9D11BA}"/>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5" name="Oval 79">
                <a:extLst>
                  <a:ext uri="{FF2B5EF4-FFF2-40B4-BE49-F238E27FC236}">
                    <a16:creationId xmlns:a16="http://schemas.microsoft.com/office/drawing/2014/main" id="{32509D43-2B06-4C27-92DD-A29C4FF6CB84}"/>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6" name="Oval 80">
                <a:extLst>
                  <a:ext uri="{FF2B5EF4-FFF2-40B4-BE49-F238E27FC236}">
                    <a16:creationId xmlns:a16="http://schemas.microsoft.com/office/drawing/2014/main" id="{0C5A2128-7949-4FFD-97B2-8D8D8A7869BB}"/>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7" name="Oval 81">
                <a:extLst>
                  <a:ext uri="{FF2B5EF4-FFF2-40B4-BE49-F238E27FC236}">
                    <a16:creationId xmlns:a16="http://schemas.microsoft.com/office/drawing/2014/main" id="{EAA85DF3-3A47-4B4D-BA1E-CCE3C0723E8E}"/>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8" name="Oval 82">
                <a:extLst>
                  <a:ext uri="{FF2B5EF4-FFF2-40B4-BE49-F238E27FC236}">
                    <a16:creationId xmlns:a16="http://schemas.microsoft.com/office/drawing/2014/main" id="{36C228FB-B8E1-43C4-9114-CCB1D931DF9D}"/>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9" name="Oval 83">
                <a:extLst>
                  <a:ext uri="{FF2B5EF4-FFF2-40B4-BE49-F238E27FC236}">
                    <a16:creationId xmlns:a16="http://schemas.microsoft.com/office/drawing/2014/main" id="{A1151B9B-7A00-4D05-AE94-F63F2FEE268F}"/>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0" name="Oval 84">
                <a:extLst>
                  <a:ext uri="{FF2B5EF4-FFF2-40B4-BE49-F238E27FC236}">
                    <a16:creationId xmlns:a16="http://schemas.microsoft.com/office/drawing/2014/main" id="{1ADE9FC4-F90A-4E82-93E0-D61D1618C5C0}"/>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nvGrpSpPr>
            <p:cNvPr id="20" name="Group 19">
              <a:extLst>
                <a:ext uri="{FF2B5EF4-FFF2-40B4-BE49-F238E27FC236}">
                  <a16:creationId xmlns:a16="http://schemas.microsoft.com/office/drawing/2014/main" id="{728C2321-14C3-4CA9-84C5-6DAED3B19996}"/>
                </a:ext>
              </a:extLst>
            </p:cNvPr>
            <p:cNvGrpSpPr>
              <a:grpSpLocks noChangeAspect="1"/>
            </p:cNvGrpSpPr>
            <p:nvPr/>
          </p:nvGrpSpPr>
          <p:grpSpPr bwMode="auto">
            <a:xfrm rot="5400000" flipH="1">
              <a:off x="8727917" y="2706920"/>
              <a:ext cx="4169618" cy="4597571"/>
              <a:chOff x="1526" y="-393"/>
              <a:chExt cx="4628" cy="5103"/>
            </a:xfrm>
            <a:gradFill>
              <a:gsLst>
                <a:gs pos="0">
                  <a:schemeClr val="accent1"/>
                </a:gs>
                <a:gs pos="100000">
                  <a:schemeClr val="accent4">
                    <a:alpha val="0"/>
                  </a:schemeClr>
                </a:gs>
              </a:gsLst>
              <a:lin ang="13500000" scaled="1"/>
            </a:gradFill>
          </p:grpSpPr>
          <p:sp>
            <p:nvSpPr>
              <p:cNvPr id="21" name="Freeform 5">
                <a:extLst>
                  <a:ext uri="{FF2B5EF4-FFF2-40B4-BE49-F238E27FC236}">
                    <a16:creationId xmlns:a16="http://schemas.microsoft.com/office/drawing/2014/main" id="{079BDD25-63ED-45D9-A0B1-284CFD806955}"/>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2" name="Freeform 6">
                <a:extLst>
                  <a:ext uri="{FF2B5EF4-FFF2-40B4-BE49-F238E27FC236}">
                    <a16:creationId xmlns:a16="http://schemas.microsoft.com/office/drawing/2014/main" id="{A058A7D7-327A-46C6-97F4-A4B4572E3534}"/>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3" name="Freeform 7">
                <a:extLst>
                  <a:ext uri="{FF2B5EF4-FFF2-40B4-BE49-F238E27FC236}">
                    <a16:creationId xmlns:a16="http://schemas.microsoft.com/office/drawing/2014/main" id="{33859239-4C4D-444E-876A-3A563DC2C92B}"/>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4" name="Freeform 8">
                <a:extLst>
                  <a:ext uri="{FF2B5EF4-FFF2-40B4-BE49-F238E27FC236}">
                    <a16:creationId xmlns:a16="http://schemas.microsoft.com/office/drawing/2014/main" id="{8DE3EE6E-ECDF-4D80-830B-708D4749DCB3}"/>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5" name="Freeform 9">
                <a:extLst>
                  <a:ext uri="{FF2B5EF4-FFF2-40B4-BE49-F238E27FC236}">
                    <a16:creationId xmlns:a16="http://schemas.microsoft.com/office/drawing/2014/main" id="{1B827D28-91C7-496E-8D00-E0C166758BF4}"/>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6" name="Freeform 10">
                <a:extLst>
                  <a:ext uri="{FF2B5EF4-FFF2-40B4-BE49-F238E27FC236}">
                    <a16:creationId xmlns:a16="http://schemas.microsoft.com/office/drawing/2014/main" id="{5CD508C3-C34F-4D95-81A9-6DF7BBD170CA}"/>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7" name="Freeform 11">
                <a:extLst>
                  <a:ext uri="{FF2B5EF4-FFF2-40B4-BE49-F238E27FC236}">
                    <a16:creationId xmlns:a16="http://schemas.microsoft.com/office/drawing/2014/main" id="{005A3BFB-2F34-4A9C-A822-65D846F4C62B}"/>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8" name="Freeform 12">
                <a:extLst>
                  <a:ext uri="{FF2B5EF4-FFF2-40B4-BE49-F238E27FC236}">
                    <a16:creationId xmlns:a16="http://schemas.microsoft.com/office/drawing/2014/main" id="{B393782B-C8B5-4E23-BB01-110CF53DC7E4}"/>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9" name="Freeform 13">
                <a:extLst>
                  <a:ext uri="{FF2B5EF4-FFF2-40B4-BE49-F238E27FC236}">
                    <a16:creationId xmlns:a16="http://schemas.microsoft.com/office/drawing/2014/main" id="{9D291D97-D415-4C92-B740-1CB21BA9DF46}"/>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0" name="Freeform 14">
                <a:extLst>
                  <a:ext uri="{FF2B5EF4-FFF2-40B4-BE49-F238E27FC236}">
                    <a16:creationId xmlns:a16="http://schemas.microsoft.com/office/drawing/2014/main" id="{DFAA0998-05FD-404C-9AF5-E1CB45995C97}"/>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1" name="Freeform 15">
                <a:extLst>
                  <a:ext uri="{FF2B5EF4-FFF2-40B4-BE49-F238E27FC236}">
                    <a16:creationId xmlns:a16="http://schemas.microsoft.com/office/drawing/2014/main" id="{B4261348-A667-43C2-8CD9-F5F4543B764E}"/>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2" name="Freeform 16">
                <a:extLst>
                  <a:ext uri="{FF2B5EF4-FFF2-40B4-BE49-F238E27FC236}">
                    <a16:creationId xmlns:a16="http://schemas.microsoft.com/office/drawing/2014/main" id="{90F992FD-00EF-4B99-A2BD-1634F9E05FF8}"/>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3" name="Freeform 17">
                <a:extLst>
                  <a:ext uri="{FF2B5EF4-FFF2-40B4-BE49-F238E27FC236}">
                    <a16:creationId xmlns:a16="http://schemas.microsoft.com/office/drawing/2014/main" id="{B75E4A6B-EF52-428F-84FA-685B96715AD4}"/>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4" name="Freeform 18">
                <a:extLst>
                  <a:ext uri="{FF2B5EF4-FFF2-40B4-BE49-F238E27FC236}">
                    <a16:creationId xmlns:a16="http://schemas.microsoft.com/office/drawing/2014/main" id="{FE3754DE-FC0B-4936-AE84-EE16FAE5F665}"/>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5" name="Freeform 19">
                <a:extLst>
                  <a:ext uri="{FF2B5EF4-FFF2-40B4-BE49-F238E27FC236}">
                    <a16:creationId xmlns:a16="http://schemas.microsoft.com/office/drawing/2014/main" id="{BD79A243-78F1-4518-A01E-393739521732}"/>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6" name="Freeform 20">
                <a:extLst>
                  <a:ext uri="{FF2B5EF4-FFF2-40B4-BE49-F238E27FC236}">
                    <a16:creationId xmlns:a16="http://schemas.microsoft.com/office/drawing/2014/main" id="{59441BF7-6BDF-4A47-8FCB-8A155A5F48FC}"/>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7" name="Freeform 21">
                <a:extLst>
                  <a:ext uri="{FF2B5EF4-FFF2-40B4-BE49-F238E27FC236}">
                    <a16:creationId xmlns:a16="http://schemas.microsoft.com/office/drawing/2014/main" id="{BC6FA043-4775-4ACB-BB44-FBFCCFF98289}"/>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8" name="Freeform 22">
                <a:extLst>
                  <a:ext uri="{FF2B5EF4-FFF2-40B4-BE49-F238E27FC236}">
                    <a16:creationId xmlns:a16="http://schemas.microsoft.com/office/drawing/2014/main" id="{420B33D4-F572-462B-8CE9-291649CECCE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9" name="Freeform 23">
                <a:extLst>
                  <a:ext uri="{FF2B5EF4-FFF2-40B4-BE49-F238E27FC236}">
                    <a16:creationId xmlns:a16="http://schemas.microsoft.com/office/drawing/2014/main" id="{240B3135-D894-4422-B97B-3DA123579BCD}"/>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0" name="Oval 24">
                <a:extLst>
                  <a:ext uri="{FF2B5EF4-FFF2-40B4-BE49-F238E27FC236}">
                    <a16:creationId xmlns:a16="http://schemas.microsoft.com/office/drawing/2014/main" id="{85799291-5F0E-4893-BB17-5B8E7DF83C8F}"/>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1" name="Oval 25">
                <a:extLst>
                  <a:ext uri="{FF2B5EF4-FFF2-40B4-BE49-F238E27FC236}">
                    <a16:creationId xmlns:a16="http://schemas.microsoft.com/office/drawing/2014/main" id="{52CC0E54-2E25-41A1-AA8E-037EBD8B4AB0}"/>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2" name="Oval 26">
                <a:extLst>
                  <a:ext uri="{FF2B5EF4-FFF2-40B4-BE49-F238E27FC236}">
                    <a16:creationId xmlns:a16="http://schemas.microsoft.com/office/drawing/2014/main" id="{8D00B996-C6BD-4A85-95B1-B15A336A1E20}"/>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3" name="Oval 27">
                <a:extLst>
                  <a:ext uri="{FF2B5EF4-FFF2-40B4-BE49-F238E27FC236}">
                    <a16:creationId xmlns:a16="http://schemas.microsoft.com/office/drawing/2014/main" id="{E6DE265C-0238-44E3-821A-5A294E6ED058}"/>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4" name="Oval 28">
                <a:extLst>
                  <a:ext uri="{FF2B5EF4-FFF2-40B4-BE49-F238E27FC236}">
                    <a16:creationId xmlns:a16="http://schemas.microsoft.com/office/drawing/2014/main" id="{CA3424CC-A636-4CFE-93BF-0D56D56B9F49}"/>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5" name="Oval 29">
                <a:extLst>
                  <a:ext uri="{FF2B5EF4-FFF2-40B4-BE49-F238E27FC236}">
                    <a16:creationId xmlns:a16="http://schemas.microsoft.com/office/drawing/2014/main" id="{4E750B2C-D10C-45C6-84C8-976A920E4DF3}"/>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6" name="Oval 30">
                <a:extLst>
                  <a:ext uri="{FF2B5EF4-FFF2-40B4-BE49-F238E27FC236}">
                    <a16:creationId xmlns:a16="http://schemas.microsoft.com/office/drawing/2014/main" id="{16B7C511-7EFB-4BA1-AB8D-CBC4D8E38C7B}"/>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7" name="Oval 31">
                <a:extLst>
                  <a:ext uri="{FF2B5EF4-FFF2-40B4-BE49-F238E27FC236}">
                    <a16:creationId xmlns:a16="http://schemas.microsoft.com/office/drawing/2014/main" id="{26C365C8-26C3-43E6-B3BE-8CF1AB8CCDE7}"/>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8" name="Oval 32">
                <a:extLst>
                  <a:ext uri="{FF2B5EF4-FFF2-40B4-BE49-F238E27FC236}">
                    <a16:creationId xmlns:a16="http://schemas.microsoft.com/office/drawing/2014/main" id="{770939B9-968C-406A-9DE7-484786D41658}"/>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9" name="Oval 33">
                <a:extLst>
                  <a:ext uri="{FF2B5EF4-FFF2-40B4-BE49-F238E27FC236}">
                    <a16:creationId xmlns:a16="http://schemas.microsoft.com/office/drawing/2014/main" id="{781D83DA-D301-4BA7-8713-CA7A1D287846}"/>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0" name="Oval 34">
                <a:extLst>
                  <a:ext uri="{FF2B5EF4-FFF2-40B4-BE49-F238E27FC236}">
                    <a16:creationId xmlns:a16="http://schemas.microsoft.com/office/drawing/2014/main" id="{222B781D-6B0B-4DC0-884C-8531F12F3CE5}"/>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1" name="Oval 35">
                <a:extLst>
                  <a:ext uri="{FF2B5EF4-FFF2-40B4-BE49-F238E27FC236}">
                    <a16:creationId xmlns:a16="http://schemas.microsoft.com/office/drawing/2014/main" id="{B70990C6-9C88-48B8-A655-088EF726C4E7}"/>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2" name="Oval 36">
                <a:extLst>
                  <a:ext uri="{FF2B5EF4-FFF2-40B4-BE49-F238E27FC236}">
                    <a16:creationId xmlns:a16="http://schemas.microsoft.com/office/drawing/2014/main" id="{12444814-492F-4DCB-BFDF-5FBFA7E93E5E}"/>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3" name="Oval 37">
                <a:extLst>
                  <a:ext uri="{FF2B5EF4-FFF2-40B4-BE49-F238E27FC236}">
                    <a16:creationId xmlns:a16="http://schemas.microsoft.com/office/drawing/2014/main" id="{FC9466E5-C7A9-47C5-BE9F-5ECB66E0BE07}"/>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4" name="Oval 38">
                <a:extLst>
                  <a:ext uri="{FF2B5EF4-FFF2-40B4-BE49-F238E27FC236}">
                    <a16:creationId xmlns:a16="http://schemas.microsoft.com/office/drawing/2014/main" id="{6284489F-D577-4469-8B46-ED134AECCE1C}"/>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5" name="Oval 39">
                <a:extLst>
                  <a:ext uri="{FF2B5EF4-FFF2-40B4-BE49-F238E27FC236}">
                    <a16:creationId xmlns:a16="http://schemas.microsoft.com/office/drawing/2014/main" id="{8999B4DD-117D-4B2C-BA29-34BE041D339E}"/>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6" name="Oval 40">
                <a:extLst>
                  <a:ext uri="{FF2B5EF4-FFF2-40B4-BE49-F238E27FC236}">
                    <a16:creationId xmlns:a16="http://schemas.microsoft.com/office/drawing/2014/main" id="{DB24494D-A7AB-4F51-9097-ED9754FE4FCB}"/>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7" name="Oval 41">
                <a:extLst>
                  <a:ext uri="{FF2B5EF4-FFF2-40B4-BE49-F238E27FC236}">
                    <a16:creationId xmlns:a16="http://schemas.microsoft.com/office/drawing/2014/main" id="{856E0203-A999-46EB-9B06-13B262EDFBB6}"/>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8" name="Oval 42">
                <a:extLst>
                  <a:ext uri="{FF2B5EF4-FFF2-40B4-BE49-F238E27FC236}">
                    <a16:creationId xmlns:a16="http://schemas.microsoft.com/office/drawing/2014/main" id="{1840FF8B-6984-4C95-AA75-A5FBE8F1421F}"/>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9" name="Oval 43">
                <a:extLst>
                  <a:ext uri="{FF2B5EF4-FFF2-40B4-BE49-F238E27FC236}">
                    <a16:creationId xmlns:a16="http://schemas.microsoft.com/office/drawing/2014/main" id="{E5FC52D1-4316-4D40-9A9C-8508E4DE4C7D}"/>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0" name="Oval 44">
                <a:extLst>
                  <a:ext uri="{FF2B5EF4-FFF2-40B4-BE49-F238E27FC236}">
                    <a16:creationId xmlns:a16="http://schemas.microsoft.com/office/drawing/2014/main" id="{9FAC16C7-DF76-47D6-80C2-2887A768ADE4}"/>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1" name="Freeform 45">
                <a:extLst>
                  <a:ext uri="{FF2B5EF4-FFF2-40B4-BE49-F238E27FC236}">
                    <a16:creationId xmlns:a16="http://schemas.microsoft.com/office/drawing/2014/main" id="{5CC9CE82-A761-4F4E-A891-5D03C32D6315}"/>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2" name="Freeform 46">
                <a:extLst>
                  <a:ext uri="{FF2B5EF4-FFF2-40B4-BE49-F238E27FC236}">
                    <a16:creationId xmlns:a16="http://schemas.microsoft.com/office/drawing/2014/main" id="{C56B8218-FAE4-4A05-8D4A-A77A1465C839}"/>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3" name="Freeform 47">
                <a:extLst>
                  <a:ext uri="{FF2B5EF4-FFF2-40B4-BE49-F238E27FC236}">
                    <a16:creationId xmlns:a16="http://schemas.microsoft.com/office/drawing/2014/main" id="{1867295C-3A83-4001-AE08-6E82AE41D099}"/>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4" name="Freeform 48">
                <a:extLst>
                  <a:ext uri="{FF2B5EF4-FFF2-40B4-BE49-F238E27FC236}">
                    <a16:creationId xmlns:a16="http://schemas.microsoft.com/office/drawing/2014/main" id="{D3FE5571-4B35-420A-9698-0F45C4830999}"/>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5" name="Freeform 49">
                <a:extLst>
                  <a:ext uri="{FF2B5EF4-FFF2-40B4-BE49-F238E27FC236}">
                    <a16:creationId xmlns:a16="http://schemas.microsoft.com/office/drawing/2014/main" id="{CF3AB4AC-13F9-40CF-BB2F-920D662366DE}"/>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6" name="Freeform 50">
                <a:extLst>
                  <a:ext uri="{FF2B5EF4-FFF2-40B4-BE49-F238E27FC236}">
                    <a16:creationId xmlns:a16="http://schemas.microsoft.com/office/drawing/2014/main" id="{1A7EE86B-4F82-44E5-8372-049285B8155F}"/>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7" name="Freeform 51">
                <a:extLst>
                  <a:ext uri="{FF2B5EF4-FFF2-40B4-BE49-F238E27FC236}">
                    <a16:creationId xmlns:a16="http://schemas.microsoft.com/office/drawing/2014/main" id="{E564DF0A-7400-4B30-806B-E08DC712E633}"/>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8" name="Freeform 52">
                <a:extLst>
                  <a:ext uri="{FF2B5EF4-FFF2-40B4-BE49-F238E27FC236}">
                    <a16:creationId xmlns:a16="http://schemas.microsoft.com/office/drawing/2014/main" id="{100B1FAD-97D9-49D0-A064-6CAAF37D86F3}"/>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9" name="Freeform 53">
                <a:extLst>
                  <a:ext uri="{FF2B5EF4-FFF2-40B4-BE49-F238E27FC236}">
                    <a16:creationId xmlns:a16="http://schemas.microsoft.com/office/drawing/2014/main" id="{56438F51-71AA-45DA-94C9-DA26BE124939}"/>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0" name="Freeform 54">
                <a:extLst>
                  <a:ext uri="{FF2B5EF4-FFF2-40B4-BE49-F238E27FC236}">
                    <a16:creationId xmlns:a16="http://schemas.microsoft.com/office/drawing/2014/main" id="{A2C33D4A-DDCD-43B0-A9D4-5B76020E5B76}"/>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1" name="Freeform 55">
                <a:extLst>
                  <a:ext uri="{FF2B5EF4-FFF2-40B4-BE49-F238E27FC236}">
                    <a16:creationId xmlns:a16="http://schemas.microsoft.com/office/drawing/2014/main" id="{FB32EF6C-06FD-4351-BFFD-6D5A7CD9D2AD}"/>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56">
                <a:extLst>
                  <a:ext uri="{FF2B5EF4-FFF2-40B4-BE49-F238E27FC236}">
                    <a16:creationId xmlns:a16="http://schemas.microsoft.com/office/drawing/2014/main" id="{FF1AA1BB-E888-43E3-8D3F-2678866773DD}"/>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57">
                <a:extLst>
                  <a:ext uri="{FF2B5EF4-FFF2-40B4-BE49-F238E27FC236}">
                    <a16:creationId xmlns:a16="http://schemas.microsoft.com/office/drawing/2014/main" id="{170378EB-07CB-45D1-B31F-3ADBFA8643F2}"/>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58">
                <a:extLst>
                  <a:ext uri="{FF2B5EF4-FFF2-40B4-BE49-F238E27FC236}">
                    <a16:creationId xmlns:a16="http://schemas.microsoft.com/office/drawing/2014/main" id="{FE4A7E6F-C985-4489-9AE4-A4051D4D92ED}"/>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59">
                <a:extLst>
                  <a:ext uri="{FF2B5EF4-FFF2-40B4-BE49-F238E27FC236}">
                    <a16:creationId xmlns:a16="http://schemas.microsoft.com/office/drawing/2014/main" id="{D6CFE12F-88B9-4B9A-B306-1A713032F092}"/>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60">
                <a:extLst>
                  <a:ext uri="{FF2B5EF4-FFF2-40B4-BE49-F238E27FC236}">
                    <a16:creationId xmlns:a16="http://schemas.microsoft.com/office/drawing/2014/main" id="{F62D8F2C-A907-4ACD-8A10-CEFB4FA2C974}"/>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Freeform 61">
                <a:extLst>
                  <a:ext uri="{FF2B5EF4-FFF2-40B4-BE49-F238E27FC236}">
                    <a16:creationId xmlns:a16="http://schemas.microsoft.com/office/drawing/2014/main" id="{58E91548-EC4F-4F02-A7D7-690F2F812795}"/>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Freeform 62">
                <a:extLst>
                  <a:ext uri="{FF2B5EF4-FFF2-40B4-BE49-F238E27FC236}">
                    <a16:creationId xmlns:a16="http://schemas.microsoft.com/office/drawing/2014/main" id="{67D01128-54D0-4850-B19F-004960EE75DA}"/>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Freeform 63">
                <a:extLst>
                  <a:ext uri="{FF2B5EF4-FFF2-40B4-BE49-F238E27FC236}">
                    <a16:creationId xmlns:a16="http://schemas.microsoft.com/office/drawing/2014/main" id="{E5CC5D29-BA6B-4D7F-A499-EAFF5D131445}"/>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Oval 64">
                <a:extLst>
                  <a:ext uri="{FF2B5EF4-FFF2-40B4-BE49-F238E27FC236}">
                    <a16:creationId xmlns:a16="http://schemas.microsoft.com/office/drawing/2014/main" id="{CC79C5E1-BA7E-4AC6-8827-BAB32F2173FA}"/>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Oval 65">
                <a:extLst>
                  <a:ext uri="{FF2B5EF4-FFF2-40B4-BE49-F238E27FC236}">
                    <a16:creationId xmlns:a16="http://schemas.microsoft.com/office/drawing/2014/main" id="{903EFA06-AA70-4259-89F5-7EAB838054E5}"/>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Oval 66">
                <a:extLst>
                  <a:ext uri="{FF2B5EF4-FFF2-40B4-BE49-F238E27FC236}">
                    <a16:creationId xmlns:a16="http://schemas.microsoft.com/office/drawing/2014/main" id="{9B079207-9795-4809-9D12-CC6D38BD546F}"/>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Oval 67">
                <a:extLst>
                  <a:ext uri="{FF2B5EF4-FFF2-40B4-BE49-F238E27FC236}">
                    <a16:creationId xmlns:a16="http://schemas.microsoft.com/office/drawing/2014/main" id="{A3A3B6E2-2C44-45BB-AE2F-1846FF1419FA}"/>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Oval 68">
                <a:extLst>
                  <a:ext uri="{FF2B5EF4-FFF2-40B4-BE49-F238E27FC236}">
                    <a16:creationId xmlns:a16="http://schemas.microsoft.com/office/drawing/2014/main" id="{26C196E2-C58C-42A8-A5BC-BF99FF6B56E5}"/>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Oval 69">
                <a:extLst>
                  <a:ext uri="{FF2B5EF4-FFF2-40B4-BE49-F238E27FC236}">
                    <a16:creationId xmlns:a16="http://schemas.microsoft.com/office/drawing/2014/main" id="{1D810D4B-FA03-4599-B69F-D26B1A8FE46E}"/>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Oval 70">
                <a:extLst>
                  <a:ext uri="{FF2B5EF4-FFF2-40B4-BE49-F238E27FC236}">
                    <a16:creationId xmlns:a16="http://schemas.microsoft.com/office/drawing/2014/main" id="{4924C4F3-078D-4B39-99A4-4557CC8DE6B5}"/>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71">
                <a:extLst>
                  <a:ext uri="{FF2B5EF4-FFF2-40B4-BE49-F238E27FC236}">
                    <a16:creationId xmlns:a16="http://schemas.microsoft.com/office/drawing/2014/main" id="{6B6A01B2-4711-4D1D-80AA-E8B75E4EC726}"/>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2">
                <a:extLst>
                  <a:ext uri="{FF2B5EF4-FFF2-40B4-BE49-F238E27FC236}">
                    <a16:creationId xmlns:a16="http://schemas.microsoft.com/office/drawing/2014/main" id="{309AEFA9-4D42-42E6-927F-6C60B3AF28FA}"/>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73">
                <a:extLst>
                  <a:ext uri="{FF2B5EF4-FFF2-40B4-BE49-F238E27FC236}">
                    <a16:creationId xmlns:a16="http://schemas.microsoft.com/office/drawing/2014/main" id="{3A4977E1-E90A-4184-B959-B2CE1FF7AFAB}"/>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74">
                <a:extLst>
                  <a:ext uri="{FF2B5EF4-FFF2-40B4-BE49-F238E27FC236}">
                    <a16:creationId xmlns:a16="http://schemas.microsoft.com/office/drawing/2014/main" id="{70C061F7-A123-41AF-93BE-2BD58D2A51B2}"/>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75">
                <a:extLst>
                  <a:ext uri="{FF2B5EF4-FFF2-40B4-BE49-F238E27FC236}">
                    <a16:creationId xmlns:a16="http://schemas.microsoft.com/office/drawing/2014/main" id="{EBF5E5D1-1544-48AB-9A11-D4395FA1FA36}"/>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6">
                <a:extLst>
                  <a:ext uri="{FF2B5EF4-FFF2-40B4-BE49-F238E27FC236}">
                    <a16:creationId xmlns:a16="http://schemas.microsoft.com/office/drawing/2014/main" id="{7DEC851B-62C2-49E8-B503-A89E1FE14BFA}"/>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7">
                <a:extLst>
                  <a:ext uri="{FF2B5EF4-FFF2-40B4-BE49-F238E27FC236}">
                    <a16:creationId xmlns:a16="http://schemas.microsoft.com/office/drawing/2014/main" id="{A36F7022-E67A-4E99-93BA-61BA88C53FEF}"/>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8">
                <a:extLst>
                  <a:ext uri="{FF2B5EF4-FFF2-40B4-BE49-F238E27FC236}">
                    <a16:creationId xmlns:a16="http://schemas.microsoft.com/office/drawing/2014/main" id="{506054B6-BE09-42D5-8F12-C3EF491D092D}"/>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9">
                <a:extLst>
                  <a:ext uri="{FF2B5EF4-FFF2-40B4-BE49-F238E27FC236}">
                    <a16:creationId xmlns:a16="http://schemas.microsoft.com/office/drawing/2014/main" id="{FB230D77-1A12-486E-9696-77505826BE30}"/>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80">
                <a:extLst>
                  <a:ext uri="{FF2B5EF4-FFF2-40B4-BE49-F238E27FC236}">
                    <a16:creationId xmlns:a16="http://schemas.microsoft.com/office/drawing/2014/main" id="{3E7EB70A-BAEB-421A-9191-596926B4A84A}"/>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7" name="Oval 81">
                <a:extLst>
                  <a:ext uri="{FF2B5EF4-FFF2-40B4-BE49-F238E27FC236}">
                    <a16:creationId xmlns:a16="http://schemas.microsoft.com/office/drawing/2014/main" id="{CDA261B9-886B-4627-83D5-E92E0F6DF6A1}"/>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8" name="Oval 82">
                <a:extLst>
                  <a:ext uri="{FF2B5EF4-FFF2-40B4-BE49-F238E27FC236}">
                    <a16:creationId xmlns:a16="http://schemas.microsoft.com/office/drawing/2014/main" id="{19452705-CB95-43B8-8FBC-B3DAA527B07D}"/>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9" name="Oval 83">
                <a:extLst>
                  <a:ext uri="{FF2B5EF4-FFF2-40B4-BE49-F238E27FC236}">
                    <a16:creationId xmlns:a16="http://schemas.microsoft.com/office/drawing/2014/main" id="{85CCA571-A959-4A1F-84F4-062825D99BB5}"/>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0" name="Oval 84">
                <a:extLst>
                  <a:ext uri="{FF2B5EF4-FFF2-40B4-BE49-F238E27FC236}">
                    <a16:creationId xmlns:a16="http://schemas.microsoft.com/office/drawing/2014/main" id="{3419729B-0291-42F8-B1D1-CC9989949BC5}"/>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sp>
        <p:nvSpPr>
          <p:cNvPr id="3" name="TextBox 2">
            <a:extLst>
              <a:ext uri="{FF2B5EF4-FFF2-40B4-BE49-F238E27FC236}">
                <a16:creationId xmlns:a16="http://schemas.microsoft.com/office/drawing/2014/main" id="{2B52A62F-4B64-46E7-9DF5-EE4EF3288901}"/>
              </a:ext>
            </a:extLst>
          </p:cNvPr>
          <p:cNvSpPr txBox="1"/>
          <p:nvPr/>
        </p:nvSpPr>
        <p:spPr>
          <a:xfrm>
            <a:off x="879719" y="3397299"/>
            <a:ext cx="7177106" cy="2062103"/>
          </a:xfrm>
          <a:prstGeom prst="rect">
            <a:avLst/>
          </a:prstGeom>
          <a:noFill/>
        </p:spPr>
        <p:txBody>
          <a:bodyPr wrap="square" lIns="91440" tIns="45720" rIns="91440" bIns="45720" rtlCol="0" anchor="t">
            <a:spAutoFit/>
          </a:bodyPr>
          <a:lstStyle/>
          <a:p>
            <a:pPr>
              <a:defRPr/>
            </a:pPr>
            <a:r>
              <a:rPr lang="en-US" sz="3200" dirty="0">
                <a:solidFill>
                  <a:srgbClr val="2B2B2B"/>
                </a:solidFill>
                <a:latin typeface="Montserrat"/>
              </a:rPr>
              <a:t>Asset Retirement Obligation Management Planning Using </a:t>
            </a:r>
          </a:p>
          <a:p>
            <a:pPr>
              <a:defRPr/>
            </a:pPr>
            <a:r>
              <a:rPr lang="en-US" sz="3200" dirty="0">
                <a:solidFill>
                  <a:srgbClr val="2B2B2B"/>
                </a:solidFill>
                <a:latin typeface="Montserrat"/>
              </a:rPr>
              <a:t>SAP Analytics Cloud (SAC)</a:t>
            </a:r>
            <a:endParaRPr lang="en-US" sz="3200" i="0" u="none" strike="noStrike" kern="1200" cap="none" spc="0" normalizeH="0" baseline="0" noProof="0" dirty="0">
              <a:ln>
                <a:noFill/>
              </a:ln>
              <a:solidFill>
                <a:srgbClr val="2B2B2B"/>
              </a:solidFill>
              <a:effectLst/>
              <a:uLnTx/>
              <a:uFillTx/>
              <a:latin typeface="Montserrat"/>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2B2B2B"/>
              </a:solidFill>
              <a:effectLst/>
              <a:uLnTx/>
              <a:uFillTx/>
              <a:latin typeface="Montserrat"/>
              <a:ea typeface="+mn-ea"/>
              <a:cs typeface="+mn-cs"/>
            </a:endParaRPr>
          </a:p>
        </p:txBody>
      </p:sp>
      <p:sp>
        <p:nvSpPr>
          <p:cNvPr id="186" name="Freeform: Shape 185">
            <a:extLst>
              <a:ext uri="{FF2B5EF4-FFF2-40B4-BE49-F238E27FC236}">
                <a16:creationId xmlns:a16="http://schemas.microsoft.com/office/drawing/2014/main" id="{5F3126A6-1797-4321-92D5-59E45D21CCB3}"/>
              </a:ext>
            </a:extLst>
          </p:cNvPr>
          <p:cNvSpPr/>
          <p:nvPr/>
        </p:nvSpPr>
        <p:spPr>
          <a:xfrm flipH="1">
            <a:off x="10385335" y="-72927"/>
            <a:ext cx="1834713" cy="2348904"/>
          </a:xfrm>
          <a:custGeom>
            <a:avLst/>
            <a:gdLst>
              <a:gd name="connsiteX0" fmla="*/ 0 w 2785054"/>
              <a:gd name="connsiteY0" fmla="*/ 0 h 3565584"/>
              <a:gd name="connsiteX1" fmla="*/ 2785054 w 2785054"/>
              <a:gd name="connsiteY1" fmla="*/ 0 h 3565584"/>
              <a:gd name="connsiteX2" fmla="*/ 2655586 w 2785054"/>
              <a:gd name="connsiteY2" fmla="*/ 52570 h 3565584"/>
              <a:gd name="connsiteX3" fmla="*/ 1233208 w 2785054"/>
              <a:gd name="connsiteY3" fmla="*/ 1307244 h 3565584"/>
              <a:gd name="connsiteX4" fmla="*/ 144089 w 2785054"/>
              <a:gd name="connsiteY4" fmla="*/ 3260429 h 3565584"/>
              <a:gd name="connsiteX5" fmla="*/ 0 w 2785054"/>
              <a:gd name="connsiteY5" fmla="*/ 3565584 h 356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5054" h="3565584">
                <a:moveTo>
                  <a:pt x="0" y="0"/>
                </a:moveTo>
                <a:lnTo>
                  <a:pt x="2785054" y="0"/>
                </a:lnTo>
                <a:lnTo>
                  <a:pt x="2655586" y="52570"/>
                </a:lnTo>
                <a:cubicBezTo>
                  <a:pt x="2074628" y="321406"/>
                  <a:pt x="1603811" y="742467"/>
                  <a:pt x="1233208" y="1307244"/>
                </a:cubicBezTo>
                <a:cubicBezTo>
                  <a:pt x="823108" y="1932532"/>
                  <a:pt x="473514" y="2591438"/>
                  <a:pt x="144089" y="3260429"/>
                </a:cubicBezTo>
                <a:lnTo>
                  <a:pt x="0" y="356558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nvGrpSpPr>
          <p:cNvPr id="4" name="Group 3">
            <a:extLst>
              <a:ext uri="{FF2B5EF4-FFF2-40B4-BE49-F238E27FC236}">
                <a16:creationId xmlns:a16="http://schemas.microsoft.com/office/drawing/2014/main" id="{7DF35C11-0C55-9613-995E-CEBDE30190CF}"/>
              </a:ext>
            </a:extLst>
          </p:cNvPr>
          <p:cNvGrpSpPr/>
          <p:nvPr/>
        </p:nvGrpSpPr>
        <p:grpSpPr>
          <a:xfrm>
            <a:off x="920257" y="5370970"/>
            <a:ext cx="2025421" cy="461665"/>
            <a:chOff x="1645536" y="5152939"/>
            <a:chExt cx="3580514" cy="914400"/>
          </a:xfrm>
        </p:grpSpPr>
        <p:sp>
          <p:nvSpPr>
            <p:cNvPr id="5" name="Rectangle: Rounded Corners 4">
              <a:extLst>
                <a:ext uri="{FF2B5EF4-FFF2-40B4-BE49-F238E27FC236}">
                  <a16:creationId xmlns:a16="http://schemas.microsoft.com/office/drawing/2014/main" id="{3857016F-668A-D98E-561C-F65C88558E70}"/>
                </a:ext>
              </a:extLst>
            </p:cNvPr>
            <p:cNvSpPr/>
            <p:nvPr/>
          </p:nvSpPr>
          <p:spPr>
            <a:xfrm>
              <a:off x="1645536" y="5152939"/>
              <a:ext cx="3580514" cy="914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 name="TextBox 5">
              <a:extLst>
                <a:ext uri="{FF2B5EF4-FFF2-40B4-BE49-F238E27FC236}">
                  <a16:creationId xmlns:a16="http://schemas.microsoft.com/office/drawing/2014/main" id="{B2B71FCD-FC35-1C04-2512-AA48DBF4FB3B}"/>
                </a:ext>
              </a:extLst>
            </p:cNvPr>
            <p:cNvSpPr txBox="1"/>
            <p:nvPr/>
          </p:nvSpPr>
          <p:spPr>
            <a:xfrm>
              <a:off x="1645536" y="5305341"/>
              <a:ext cx="3580514" cy="609601"/>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spc="200" dirty="0">
                  <a:solidFill>
                    <a:srgbClr val="F6F8F8"/>
                  </a:solidFill>
                  <a:latin typeface="Montserrat"/>
                </a:rPr>
                <a:t>28/06</a:t>
              </a:r>
              <a:r>
                <a:rPr kumimoji="0" lang="en-US" sz="1400" b="0" i="0" u="none" strike="noStrike" kern="1200" cap="none" spc="200" normalizeH="0" baseline="0" noProof="0" dirty="0">
                  <a:ln>
                    <a:noFill/>
                  </a:ln>
                  <a:solidFill>
                    <a:srgbClr val="F6F8F8"/>
                  </a:solidFill>
                  <a:effectLst/>
                  <a:uLnTx/>
                  <a:uFillTx/>
                  <a:latin typeface="Montserrat"/>
                  <a:ea typeface="+mn-ea"/>
                  <a:cs typeface="+mn-cs"/>
                </a:rPr>
                <a:t>/ 2023</a:t>
              </a:r>
              <a:endParaRPr kumimoji="0" lang="en-ID" sz="1400" b="0" i="0" u="none" strike="noStrike" kern="1200" cap="none" spc="200" normalizeH="0" baseline="0" noProof="0" dirty="0">
                <a:ln>
                  <a:noFill/>
                </a:ln>
                <a:solidFill>
                  <a:srgbClr val="F6F8F8"/>
                </a:solidFill>
                <a:effectLst/>
                <a:uLnTx/>
                <a:uFillTx/>
                <a:latin typeface="Montserrat"/>
                <a:ea typeface="+mn-ea"/>
                <a:cs typeface="+mn-cs"/>
              </a:endParaRPr>
            </a:p>
          </p:txBody>
        </p:sp>
      </p:grpSp>
      <p:pic>
        <p:nvPicPr>
          <p:cNvPr id="8" name="Picture 7" descr="A picture containing graphics, font, graphic design, logo&#10;&#10;Description automatically generated">
            <a:extLst>
              <a:ext uri="{FF2B5EF4-FFF2-40B4-BE49-F238E27FC236}">
                <a16:creationId xmlns:a16="http://schemas.microsoft.com/office/drawing/2014/main" id="{B9F20F89-B166-2086-F48D-52813DA31D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7731" y="734558"/>
            <a:ext cx="3368499" cy="1662099"/>
          </a:xfrm>
          <a:prstGeom prst="rect">
            <a:avLst/>
          </a:prstGeom>
        </p:spPr>
      </p:pic>
    </p:spTree>
    <p:extLst>
      <p:ext uri="{BB962C8B-B14F-4D97-AF65-F5344CB8AC3E}">
        <p14:creationId xmlns:p14="http://schemas.microsoft.com/office/powerpoint/2010/main" val="14544836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11666" y="569820"/>
            <a:ext cx="12756443" cy="646331"/>
          </a:xfrm>
        </p:spPr>
        <p:txBody>
          <a:bodyPr lIns="91440" tIns="45720" rIns="91440" bIns="45720" anchor="ctr"/>
          <a:lstStyle/>
          <a:p>
            <a:pPr algn="ctr"/>
            <a:r>
              <a:rPr lang="de-DE" sz="3000">
                <a:solidFill>
                  <a:schemeClr val="bg2"/>
                </a:solidFill>
              </a:rPr>
              <a:t>Value Proposition For Municipalities</a:t>
            </a:r>
          </a:p>
          <a:p>
            <a:pPr algn="ctr"/>
            <a:r>
              <a:rPr lang="de-DE" sz="3000">
                <a:solidFill>
                  <a:srgbClr val="FFC000"/>
                </a:solidFill>
              </a:rPr>
              <a:t>Why Use VIZIO's FP&amp;A Accelerators</a:t>
            </a:r>
            <a:endParaRPr lang="de-DE">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9" name="Diagram 8">
            <a:extLst>
              <a:ext uri="{FF2B5EF4-FFF2-40B4-BE49-F238E27FC236}">
                <a16:creationId xmlns:a16="http://schemas.microsoft.com/office/drawing/2014/main" id="{E84B9CE8-5525-9F40-8945-F5F8D3C8C9E5}"/>
              </a:ext>
            </a:extLst>
          </p:cNvPr>
          <p:cNvGraphicFramePr/>
          <p:nvPr>
            <p:extLst>
              <p:ext uri="{D42A27DB-BD31-4B8C-83A1-F6EECF244321}">
                <p14:modId xmlns:p14="http://schemas.microsoft.com/office/powerpoint/2010/main" val="809910611"/>
              </p:ext>
            </p:extLst>
          </p:nvPr>
        </p:nvGraphicFramePr>
        <p:xfrm>
          <a:off x="1919899" y="2001275"/>
          <a:ext cx="8736611" cy="47042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1" name="Picture 10" descr="Text&#10;&#10;Description automatically generated">
            <a:extLst>
              <a:ext uri="{FF2B5EF4-FFF2-40B4-BE49-F238E27FC236}">
                <a16:creationId xmlns:a16="http://schemas.microsoft.com/office/drawing/2014/main" id="{CB4DC925-6BF7-B1D6-240E-901CC46C2F1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19486" y="2271670"/>
            <a:ext cx="491796" cy="491796"/>
          </a:xfrm>
          <a:prstGeom prst="rect">
            <a:avLst/>
          </a:prstGeom>
        </p:spPr>
      </p:pic>
      <p:pic>
        <p:nvPicPr>
          <p:cNvPr id="13" name="Picture 12" descr="A picture containing text, clock&#10;&#10;Description automatically generated">
            <a:extLst>
              <a:ext uri="{FF2B5EF4-FFF2-40B4-BE49-F238E27FC236}">
                <a16:creationId xmlns:a16="http://schemas.microsoft.com/office/drawing/2014/main" id="{D937856E-8284-459F-B980-A9EDAE4FC2F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446791" y="3009771"/>
            <a:ext cx="491796" cy="491796"/>
          </a:xfrm>
          <a:prstGeom prst="rect">
            <a:avLst/>
          </a:prstGeom>
        </p:spPr>
      </p:pic>
      <p:pic>
        <p:nvPicPr>
          <p:cNvPr id="15" name="Picture 14" descr="Icon&#10;&#10;Description automatically generated">
            <a:extLst>
              <a:ext uri="{FF2B5EF4-FFF2-40B4-BE49-F238E27FC236}">
                <a16:creationId xmlns:a16="http://schemas.microsoft.com/office/drawing/2014/main" id="{31C002F8-43C8-0C57-750D-4D3AA649324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55620" y="3759298"/>
            <a:ext cx="491795" cy="491795"/>
          </a:xfrm>
          <a:prstGeom prst="rect">
            <a:avLst/>
          </a:prstGeom>
        </p:spPr>
      </p:pic>
      <p:pic>
        <p:nvPicPr>
          <p:cNvPr id="17" name="Picture 16" descr="A picture containing qr code&#10;&#10;Description automatically generated">
            <a:extLst>
              <a:ext uri="{FF2B5EF4-FFF2-40B4-BE49-F238E27FC236}">
                <a16:creationId xmlns:a16="http://schemas.microsoft.com/office/drawing/2014/main" id="{E4EA5418-05BF-63A8-EF5C-C5793508F0A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34839" y="4469574"/>
            <a:ext cx="491795" cy="491795"/>
          </a:xfrm>
          <a:prstGeom prst="rect">
            <a:avLst/>
          </a:prstGeom>
        </p:spPr>
      </p:pic>
      <p:pic>
        <p:nvPicPr>
          <p:cNvPr id="19" name="Picture 18" descr="Icon&#10;&#10;Description automatically generated">
            <a:extLst>
              <a:ext uri="{FF2B5EF4-FFF2-40B4-BE49-F238E27FC236}">
                <a16:creationId xmlns:a16="http://schemas.microsoft.com/office/drawing/2014/main" id="{E5E18AA1-29DB-5BF8-9BE8-6EF72CA16F2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446791" y="5233090"/>
            <a:ext cx="479961" cy="479961"/>
          </a:xfrm>
          <a:prstGeom prst="rect">
            <a:avLst/>
          </a:prstGeom>
        </p:spPr>
      </p:pic>
      <p:pic>
        <p:nvPicPr>
          <p:cNvPr id="2" name="Picture 1" descr="Icon&#10;&#10;Description automatically generated">
            <a:extLst>
              <a:ext uri="{FF2B5EF4-FFF2-40B4-BE49-F238E27FC236}">
                <a16:creationId xmlns:a16="http://schemas.microsoft.com/office/drawing/2014/main" id="{C1E02793-59FE-95AD-7301-D921ADE1285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65573" y="5962394"/>
            <a:ext cx="435223" cy="435223"/>
          </a:xfrm>
          <a:prstGeom prst="rect">
            <a:avLst/>
          </a:prstGeom>
        </p:spPr>
      </p:pic>
    </p:spTree>
    <p:extLst>
      <p:ext uri="{BB962C8B-B14F-4D97-AF65-F5344CB8AC3E}">
        <p14:creationId xmlns:p14="http://schemas.microsoft.com/office/powerpoint/2010/main" val="2966953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20653" y="583370"/>
            <a:ext cx="11971347" cy="1036475"/>
          </a:xfrm>
        </p:spPr>
        <p:txBody>
          <a:bodyPr lIns="91440" tIns="45720" rIns="91440" bIns="45720" anchor="ctr"/>
          <a:lstStyle/>
          <a:p>
            <a:pPr algn="ctr"/>
            <a:r>
              <a:rPr lang="en-US" sz="3000">
                <a:solidFill>
                  <a:schemeClr val="bg2"/>
                </a:solidFill>
              </a:rPr>
              <a:t>Multilingual Solutions</a:t>
            </a:r>
            <a:endParaRPr lang="en-US">
              <a:solidFill>
                <a:schemeClr val="bg2"/>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pic>
        <p:nvPicPr>
          <p:cNvPr id="3" name="Picture 2">
            <a:extLst>
              <a:ext uri="{FF2B5EF4-FFF2-40B4-BE49-F238E27FC236}">
                <a16:creationId xmlns:a16="http://schemas.microsoft.com/office/drawing/2014/main" id="{76CEE768-70EB-8C8D-F93E-D517AF7A4E52}"/>
              </a:ext>
            </a:extLst>
          </p:cNvPr>
          <p:cNvPicPr>
            <a:picLocks noChangeAspect="1"/>
          </p:cNvPicPr>
          <p:nvPr/>
        </p:nvPicPr>
        <p:blipFill>
          <a:blip r:embed="rId7"/>
          <a:stretch>
            <a:fillRect/>
          </a:stretch>
        </p:blipFill>
        <p:spPr>
          <a:xfrm>
            <a:off x="2445088" y="2204693"/>
            <a:ext cx="7522475" cy="4004011"/>
          </a:xfrm>
          <a:prstGeom prst="rect">
            <a:avLst/>
          </a:prstGeom>
        </p:spPr>
      </p:pic>
    </p:spTree>
    <p:extLst>
      <p:ext uri="{BB962C8B-B14F-4D97-AF65-F5344CB8AC3E}">
        <p14:creationId xmlns:p14="http://schemas.microsoft.com/office/powerpoint/2010/main" val="423210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79450" y="3678385"/>
            <a:ext cx="11258550" cy="646331"/>
          </a:xfrm>
        </p:spPr>
        <p:txBody>
          <a:bodyPr lIns="91440" tIns="45720" rIns="91440" bIns="45720" anchor="ctr"/>
          <a:lstStyle/>
          <a:p>
            <a:pPr algn="ctr"/>
            <a:r>
              <a:rPr lang="de-DE" dirty="0">
                <a:solidFill>
                  <a:schemeClr val="bg2"/>
                </a:solidFill>
              </a:rPr>
              <a:t>Section 2 : </a:t>
            </a:r>
          </a:p>
          <a:p>
            <a:pPr algn="ctr"/>
            <a:r>
              <a:rPr lang="de-DE" sz="3200" dirty="0">
                <a:solidFill>
                  <a:schemeClr val="bg2"/>
                </a:solidFill>
              </a:rPr>
              <a:t>DEMO </a:t>
            </a:r>
            <a:r>
              <a:rPr lang="en-US" sz="3200" dirty="0">
                <a:solidFill>
                  <a:schemeClr val="bg2"/>
                </a:solidFill>
              </a:rPr>
              <a:t> - </a:t>
            </a:r>
            <a:r>
              <a:rPr lang="de-DE" sz="3200" dirty="0">
                <a:solidFill>
                  <a:schemeClr val="bg2"/>
                </a:solidFill>
              </a:rPr>
              <a:t>Asset Retirement Obligation Management Planning Accelertator</a:t>
            </a:r>
          </a:p>
          <a:p>
            <a:pPr algn="ctr"/>
            <a:endParaRPr lang="de-DE" sz="1400" i="1" dirty="0">
              <a:solidFill>
                <a:schemeClr val="accent1"/>
              </a:solidFill>
            </a:endParaRPr>
          </a:p>
          <a:p>
            <a:pPr algn="ctr"/>
            <a:endParaRPr lang="de-DE" sz="1400" i="1" dirty="0">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669237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iagram, arrow&#10;&#10;Description automatically generated">
            <a:extLst>
              <a:ext uri="{FF2B5EF4-FFF2-40B4-BE49-F238E27FC236}">
                <a16:creationId xmlns:a16="http://schemas.microsoft.com/office/drawing/2014/main" id="{FBB7F738-B271-AD9F-7798-976E8F988CC6}"/>
              </a:ext>
            </a:extLst>
          </p:cNvPr>
          <p:cNvPicPr>
            <a:picLocks noChangeAspect="1"/>
          </p:cNvPicPr>
          <p:nvPr/>
        </p:nvPicPr>
        <p:blipFill>
          <a:blip r:embed="rId4"/>
          <a:stretch>
            <a:fillRect/>
          </a:stretch>
        </p:blipFill>
        <p:spPr>
          <a:xfrm>
            <a:off x="2432304" y="1873108"/>
            <a:ext cx="6961632" cy="4873528"/>
          </a:xfrm>
          <a:prstGeom prst="rect">
            <a:avLst/>
          </a:prstGeom>
        </p:spPr>
      </p:pic>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7">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5284" y="991841"/>
            <a:ext cx="12584980" cy="646331"/>
          </a:xfrm>
        </p:spPr>
        <p:txBody>
          <a:bodyPr lIns="91440" tIns="45720" rIns="91440" bIns="45720" anchor="ctr"/>
          <a:lstStyle/>
          <a:p>
            <a:pPr algn="ctr"/>
            <a:r>
              <a:rPr lang="de-DE" sz="3200" dirty="0" err="1">
                <a:solidFill>
                  <a:schemeClr val="bg2"/>
                </a:solidFill>
              </a:rPr>
              <a:t>What</a:t>
            </a:r>
            <a:r>
              <a:rPr lang="de-DE" sz="3200" dirty="0">
                <a:solidFill>
                  <a:schemeClr val="bg2"/>
                </a:solidFill>
              </a:rPr>
              <a:t> </a:t>
            </a:r>
            <a:r>
              <a:rPr lang="de-DE" sz="3200" dirty="0" err="1">
                <a:solidFill>
                  <a:schemeClr val="bg2"/>
                </a:solidFill>
              </a:rPr>
              <a:t>is</a:t>
            </a:r>
            <a:r>
              <a:rPr lang="de-DE" sz="3200" dirty="0">
                <a:solidFill>
                  <a:schemeClr val="bg2"/>
                </a:solidFill>
              </a:rPr>
              <a:t> Asset </a:t>
            </a:r>
            <a:r>
              <a:rPr lang="de-DE" sz="3200" dirty="0" err="1">
                <a:solidFill>
                  <a:schemeClr val="bg2"/>
                </a:solidFill>
              </a:rPr>
              <a:t>Retirement</a:t>
            </a:r>
            <a:r>
              <a:rPr lang="de-DE" sz="3200" dirty="0">
                <a:solidFill>
                  <a:schemeClr val="bg2"/>
                </a:solidFill>
              </a:rPr>
              <a:t> Obligation Management</a:t>
            </a:r>
            <a:endParaRPr lang="de-DE" sz="3200" dirty="0" err="1">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Tree>
    <p:extLst>
      <p:ext uri="{BB962C8B-B14F-4D97-AF65-F5344CB8AC3E}">
        <p14:creationId xmlns:p14="http://schemas.microsoft.com/office/powerpoint/2010/main" val="3516959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1108290" y="913592"/>
            <a:ext cx="10414000" cy="646331"/>
          </a:xfrm>
        </p:spPr>
        <p:txBody>
          <a:bodyPr lIns="91440" tIns="45720" rIns="91440" bIns="45720" anchor="ctr"/>
          <a:lstStyle/>
          <a:p>
            <a:pPr algn="ctr"/>
            <a:r>
              <a:rPr lang="de-DE">
                <a:solidFill>
                  <a:schemeClr val="bg2"/>
                </a:solidFill>
              </a:rPr>
              <a:t>ARO Design Features</a:t>
            </a:r>
            <a:endParaRPr lang="en-US">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3" name="Diagram 2">
            <a:extLst>
              <a:ext uri="{FF2B5EF4-FFF2-40B4-BE49-F238E27FC236}">
                <a16:creationId xmlns:a16="http://schemas.microsoft.com/office/drawing/2014/main" id="{A28D9650-5865-11A0-2E55-3CEA76CAE066}"/>
              </a:ext>
            </a:extLst>
          </p:cNvPr>
          <p:cNvGraphicFramePr/>
          <p:nvPr>
            <p:extLst>
              <p:ext uri="{D42A27DB-BD31-4B8C-83A1-F6EECF244321}">
                <p14:modId xmlns:p14="http://schemas.microsoft.com/office/powerpoint/2010/main" val="3339019922"/>
              </p:ext>
            </p:extLst>
          </p:nvPr>
        </p:nvGraphicFramePr>
        <p:xfrm>
          <a:off x="1960309" y="2080813"/>
          <a:ext cx="8615218" cy="44936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02482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dirty="0">
                <a:solidFill>
                  <a:schemeClr val="bg2"/>
                </a:solidFill>
              </a:rPr>
              <a:t>LIVE DEMO </a:t>
            </a:r>
          </a:p>
          <a:p>
            <a:pPr algn="ctr"/>
            <a:endParaRPr lang="de-DE" sz="1400" i="1" dirty="0">
              <a:solidFill>
                <a:schemeClr val="accent1"/>
              </a:solidFill>
            </a:endParaRPr>
          </a:p>
          <a:p>
            <a:pPr algn="ctr"/>
            <a:endParaRPr lang="de-DE" sz="1400" i="1" dirty="0">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949258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Section 3: Closing Remarks</a:t>
            </a: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endParaRPr lang="de-DE">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534965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1108290" y="913592"/>
            <a:ext cx="10414000" cy="646331"/>
          </a:xfrm>
        </p:spPr>
        <p:txBody>
          <a:bodyPr lIns="91440" tIns="45720" rIns="91440" bIns="45720" anchor="ctr"/>
          <a:lstStyle/>
          <a:p>
            <a:pPr algn="ctr"/>
            <a:r>
              <a:rPr lang="en-ID" sz="3200">
                <a:solidFill>
                  <a:schemeClr val="bg2"/>
                </a:solidFill>
                <a:ea typeface="+mn-lt"/>
                <a:cs typeface="+mn-lt"/>
              </a:rPr>
              <a:t>Upcoming Planning Accelerators on SAP SAC</a:t>
            </a:r>
            <a:endParaRPr lang="de-DE" sz="3200" b="0">
              <a:solidFill>
                <a:schemeClr val="bg2"/>
              </a:solidFill>
              <a:ea typeface="+mn-lt"/>
              <a:cs typeface="+mn-lt"/>
            </a:endParaRPr>
          </a:p>
          <a:p>
            <a:pPr algn="ctr"/>
            <a:endParaRPr lang="de-DE">
              <a:solidFill>
                <a:schemeClr val="bg2"/>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3" name="TextBox 2">
            <a:extLst>
              <a:ext uri="{FF2B5EF4-FFF2-40B4-BE49-F238E27FC236}">
                <a16:creationId xmlns:a16="http://schemas.microsoft.com/office/drawing/2014/main" id="{AD9E5C99-51D5-6558-89C7-3A7FF544B034}"/>
              </a:ext>
            </a:extLst>
          </p:cNvPr>
          <p:cNvSpPr txBox="1"/>
          <p:nvPr/>
        </p:nvSpPr>
        <p:spPr>
          <a:xfrm>
            <a:off x="2907792" y="2249424"/>
            <a:ext cx="737616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D"/>
              <a:t>VIZIO’s future pipeline includes the following accelerators:</a:t>
            </a:r>
            <a:r>
              <a:rPr lang="en-US"/>
              <a:t>​</a:t>
            </a:r>
          </a:p>
        </p:txBody>
      </p:sp>
      <p:graphicFrame>
        <p:nvGraphicFramePr>
          <p:cNvPr id="10" name="Diagram 9">
            <a:extLst>
              <a:ext uri="{FF2B5EF4-FFF2-40B4-BE49-F238E27FC236}">
                <a16:creationId xmlns:a16="http://schemas.microsoft.com/office/drawing/2014/main" id="{5A86A40B-2133-8EA4-DCF4-B4C4B42D6397}"/>
              </a:ext>
            </a:extLst>
          </p:cNvPr>
          <p:cNvGraphicFramePr/>
          <p:nvPr>
            <p:extLst>
              <p:ext uri="{D42A27DB-BD31-4B8C-83A1-F6EECF244321}">
                <p14:modId xmlns:p14="http://schemas.microsoft.com/office/powerpoint/2010/main" val="1375584590"/>
              </p:ext>
            </p:extLst>
          </p:nvPr>
        </p:nvGraphicFramePr>
        <p:xfrm>
          <a:off x="2405849" y="2326886"/>
          <a:ext cx="7581718" cy="40855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2732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Section 4: Q&amp;A</a:t>
            </a: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endParaRPr lang="de-DE">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83533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36"/>
        <p:cNvGrpSpPr/>
        <p:nvPr/>
      </p:nvGrpSpPr>
      <p:grpSpPr>
        <a:xfrm>
          <a:off x="0" y="0"/>
          <a:ext cx="0" cy="0"/>
          <a:chOff x="0" y="0"/>
          <a:chExt cx="0" cy="0"/>
        </a:xfrm>
      </p:grpSpPr>
      <p:pic>
        <p:nvPicPr>
          <p:cNvPr id="1137" name="Google Shape;1137;p20"/>
          <p:cNvPicPr preferRelativeResize="0"/>
          <p:nvPr/>
        </p:nvPicPr>
        <p:blipFill rotWithShape="1">
          <a:blip r:embed="rId3">
            <a:alphaModFix/>
          </a:blip>
          <a:srcRect l="8661" b="21335"/>
          <a:stretch/>
        </p:blipFill>
        <p:spPr>
          <a:xfrm>
            <a:off x="0" y="0"/>
            <a:ext cx="12192000" cy="6858000"/>
          </a:xfrm>
          <a:prstGeom prst="rect">
            <a:avLst/>
          </a:prstGeom>
          <a:noFill/>
          <a:ln>
            <a:noFill/>
          </a:ln>
        </p:spPr>
      </p:pic>
      <p:grpSp>
        <p:nvGrpSpPr>
          <p:cNvPr id="1138" name="Google Shape;1138;p20"/>
          <p:cNvGrpSpPr/>
          <p:nvPr/>
        </p:nvGrpSpPr>
        <p:grpSpPr>
          <a:xfrm rot="10800000">
            <a:off x="10039464" y="0"/>
            <a:ext cx="2152536" cy="2278260"/>
            <a:chOff x="2212" y="425"/>
            <a:chExt cx="3253" cy="3443"/>
          </a:xfrm>
        </p:grpSpPr>
        <p:sp>
          <p:nvSpPr>
            <p:cNvPr id="1139" name="Google Shape;1139;p20"/>
            <p:cNvSpPr/>
            <p:nvPr/>
          </p:nvSpPr>
          <p:spPr>
            <a:xfrm>
              <a:off x="2212" y="1171"/>
              <a:ext cx="2978" cy="2697"/>
            </a:xfrm>
            <a:custGeom>
              <a:avLst/>
              <a:gdLst/>
              <a:ahLst/>
              <a:cxnLst/>
              <a:rect l="l" t="t" r="r" b="b"/>
              <a:pathLst>
                <a:path w="1114" h="1009" extrusionOk="0">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0" name="Google Shape;1140;p20"/>
            <p:cNvSpPr/>
            <p:nvPr/>
          </p:nvSpPr>
          <p:spPr>
            <a:xfrm>
              <a:off x="2958" y="981"/>
              <a:ext cx="2507" cy="2887"/>
            </a:xfrm>
            <a:custGeom>
              <a:avLst/>
              <a:gdLst/>
              <a:ahLst/>
              <a:cxnLst/>
              <a:rect l="l" t="t" r="r" b="b"/>
              <a:pathLst>
                <a:path w="938" h="1080" extrusionOk="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1" name="Google Shape;1141;p20"/>
            <p:cNvSpPr/>
            <p:nvPr/>
          </p:nvSpPr>
          <p:spPr>
            <a:xfrm>
              <a:off x="2212" y="1754"/>
              <a:ext cx="1345" cy="398"/>
            </a:xfrm>
            <a:custGeom>
              <a:avLst/>
              <a:gdLst/>
              <a:ahLst/>
              <a:cxnLst/>
              <a:rect l="l" t="t" r="r" b="b"/>
              <a:pathLst>
                <a:path w="503" h="149" extrusionOk="0">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2" name="Google Shape;1142;p20"/>
            <p:cNvSpPr/>
            <p:nvPr/>
          </p:nvSpPr>
          <p:spPr>
            <a:xfrm>
              <a:off x="3466" y="2072"/>
              <a:ext cx="1208" cy="1796"/>
            </a:xfrm>
            <a:custGeom>
              <a:avLst/>
              <a:gdLst/>
              <a:ahLst/>
              <a:cxnLst/>
              <a:rect l="l" t="t" r="r" b="b"/>
              <a:pathLst>
                <a:path w="452" h="672" extrusionOk="0">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3" name="Google Shape;1143;p20"/>
            <p:cNvSpPr/>
            <p:nvPr/>
          </p:nvSpPr>
          <p:spPr>
            <a:xfrm>
              <a:off x="3030" y="1321"/>
              <a:ext cx="75" cy="120"/>
            </a:xfrm>
            <a:custGeom>
              <a:avLst/>
              <a:gdLst/>
              <a:ahLst/>
              <a:cxnLst/>
              <a:rect l="l" t="t" r="r" b="b"/>
              <a:pathLst>
                <a:path w="28" h="45" extrusionOk="0">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4" name="Google Shape;1144;p20"/>
            <p:cNvSpPr/>
            <p:nvPr/>
          </p:nvSpPr>
          <p:spPr>
            <a:xfrm>
              <a:off x="2669" y="1249"/>
              <a:ext cx="56" cy="120"/>
            </a:xfrm>
            <a:custGeom>
              <a:avLst/>
              <a:gdLst/>
              <a:ahLst/>
              <a:cxnLst/>
              <a:rect l="l" t="t" r="r" b="b"/>
              <a:pathLst>
                <a:path w="21" h="45" extrusionOk="0">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5" name="Google Shape;1145;p20"/>
            <p:cNvSpPr/>
            <p:nvPr/>
          </p:nvSpPr>
          <p:spPr>
            <a:xfrm>
              <a:off x="2854" y="1278"/>
              <a:ext cx="58" cy="126"/>
            </a:xfrm>
            <a:custGeom>
              <a:avLst/>
              <a:gdLst/>
              <a:ahLst/>
              <a:cxnLst/>
              <a:rect l="l" t="t" r="r" b="b"/>
              <a:pathLst>
                <a:path w="22" h="47" extrusionOk="0">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6" name="Google Shape;1146;p20"/>
            <p:cNvSpPr/>
            <p:nvPr/>
          </p:nvSpPr>
          <p:spPr>
            <a:xfrm>
              <a:off x="3214" y="1377"/>
              <a:ext cx="67" cy="118"/>
            </a:xfrm>
            <a:custGeom>
              <a:avLst/>
              <a:gdLst/>
              <a:ahLst/>
              <a:cxnLst/>
              <a:rect l="l" t="t" r="r" b="b"/>
              <a:pathLst>
                <a:path w="25" h="44" extrusionOk="0">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7" name="Google Shape;1147;p20"/>
            <p:cNvSpPr/>
            <p:nvPr/>
          </p:nvSpPr>
          <p:spPr>
            <a:xfrm>
              <a:off x="3388" y="1444"/>
              <a:ext cx="83" cy="120"/>
            </a:xfrm>
            <a:custGeom>
              <a:avLst/>
              <a:gdLst/>
              <a:ahLst/>
              <a:cxnLst/>
              <a:rect l="l" t="t" r="r" b="b"/>
              <a:pathLst>
                <a:path w="31" h="45" extrusionOk="0">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8" name="Google Shape;1148;p20"/>
            <p:cNvSpPr/>
            <p:nvPr/>
          </p:nvSpPr>
          <p:spPr>
            <a:xfrm>
              <a:off x="4540" y="2401"/>
              <a:ext cx="115" cy="90"/>
            </a:xfrm>
            <a:custGeom>
              <a:avLst/>
              <a:gdLst/>
              <a:ahLst/>
              <a:cxnLst/>
              <a:rect l="l" t="t" r="r" b="b"/>
              <a:pathLst>
                <a:path w="43" h="34" extrusionOk="0">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9" name="Google Shape;1149;p20"/>
            <p:cNvSpPr/>
            <p:nvPr/>
          </p:nvSpPr>
          <p:spPr>
            <a:xfrm>
              <a:off x="4738" y="2727"/>
              <a:ext cx="121" cy="88"/>
            </a:xfrm>
            <a:custGeom>
              <a:avLst/>
              <a:gdLst/>
              <a:ahLst/>
              <a:cxnLst/>
              <a:rect l="l" t="t" r="r" b="b"/>
              <a:pathLst>
                <a:path w="45" h="33" extrusionOk="0">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0" name="Google Shape;1150;p20"/>
            <p:cNvSpPr/>
            <p:nvPr/>
          </p:nvSpPr>
          <p:spPr>
            <a:xfrm>
              <a:off x="4987" y="3454"/>
              <a:ext cx="123" cy="67"/>
            </a:xfrm>
            <a:custGeom>
              <a:avLst/>
              <a:gdLst/>
              <a:ahLst/>
              <a:cxnLst/>
              <a:rect l="l" t="t" r="r" b="b"/>
              <a:pathLst>
                <a:path w="46" h="25" extrusionOk="0">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1" name="Google Shape;1151;p20"/>
            <p:cNvSpPr/>
            <p:nvPr/>
          </p:nvSpPr>
          <p:spPr>
            <a:xfrm>
              <a:off x="2487" y="1233"/>
              <a:ext cx="40" cy="120"/>
            </a:xfrm>
            <a:custGeom>
              <a:avLst/>
              <a:gdLst/>
              <a:ahLst/>
              <a:cxnLst/>
              <a:rect l="l" t="t" r="r" b="b"/>
              <a:pathLst>
                <a:path w="15" h="45" extrusionOk="0">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2" name="Google Shape;1152;p20"/>
            <p:cNvSpPr/>
            <p:nvPr/>
          </p:nvSpPr>
          <p:spPr>
            <a:xfrm>
              <a:off x="5022" y="3654"/>
              <a:ext cx="117" cy="46"/>
            </a:xfrm>
            <a:custGeom>
              <a:avLst/>
              <a:gdLst/>
              <a:ahLst/>
              <a:cxnLst/>
              <a:rect l="l" t="t" r="r" b="b"/>
              <a:pathLst>
                <a:path w="44" h="17" extrusionOk="0">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3" name="Google Shape;1153;p20"/>
            <p:cNvSpPr/>
            <p:nvPr/>
          </p:nvSpPr>
          <p:spPr>
            <a:xfrm>
              <a:off x="4941" y="3269"/>
              <a:ext cx="126" cy="67"/>
            </a:xfrm>
            <a:custGeom>
              <a:avLst/>
              <a:gdLst/>
              <a:ahLst/>
              <a:cxnLst/>
              <a:rect l="l" t="t" r="r" b="b"/>
              <a:pathLst>
                <a:path w="47" h="25" extrusionOk="0">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4" name="Google Shape;1154;p20"/>
            <p:cNvSpPr/>
            <p:nvPr/>
          </p:nvSpPr>
          <p:spPr>
            <a:xfrm>
              <a:off x="4818" y="2908"/>
              <a:ext cx="123" cy="75"/>
            </a:xfrm>
            <a:custGeom>
              <a:avLst/>
              <a:gdLst/>
              <a:ahLst/>
              <a:cxnLst/>
              <a:rect l="l" t="t" r="r" b="b"/>
              <a:pathLst>
                <a:path w="46" h="28" extrusionOk="0">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5" name="Google Shape;1155;p20"/>
            <p:cNvSpPr/>
            <p:nvPr/>
          </p:nvSpPr>
          <p:spPr>
            <a:xfrm>
              <a:off x="2292" y="1227"/>
              <a:ext cx="43" cy="121"/>
            </a:xfrm>
            <a:custGeom>
              <a:avLst/>
              <a:gdLst/>
              <a:ahLst/>
              <a:cxnLst/>
              <a:rect l="l" t="t" r="r" b="b"/>
              <a:pathLst>
                <a:path w="16" h="45" extrusionOk="0">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6" name="Google Shape;1156;p20"/>
            <p:cNvSpPr/>
            <p:nvPr/>
          </p:nvSpPr>
          <p:spPr>
            <a:xfrm>
              <a:off x="3559" y="1527"/>
              <a:ext cx="86" cy="123"/>
            </a:xfrm>
            <a:custGeom>
              <a:avLst/>
              <a:gdLst/>
              <a:ahLst/>
              <a:cxnLst/>
              <a:rect l="l" t="t" r="r" b="b"/>
              <a:pathLst>
                <a:path w="32" h="46" extrusionOk="0">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7" name="Google Shape;1157;p20"/>
            <p:cNvSpPr/>
            <p:nvPr/>
          </p:nvSpPr>
          <p:spPr>
            <a:xfrm>
              <a:off x="4174" y="1968"/>
              <a:ext cx="104" cy="107"/>
            </a:xfrm>
            <a:custGeom>
              <a:avLst/>
              <a:gdLst/>
              <a:ahLst/>
              <a:cxnLst/>
              <a:rect l="l" t="t" r="r" b="b"/>
              <a:pathLst>
                <a:path w="39" h="40" extrusionOk="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8" name="Google Shape;1158;p20"/>
            <p:cNvSpPr/>
            <p:nvPr/>
          </p:nvSpPr>
          <p:spPr>
            <a:xfrm>
              <a:off x="4431" y="2248"/>
              <a:ext cx="107" cy="94"/>
            </a:xfrm>
            <a:custGeom>
              <a:avLst/>
              <a:gdLst/>
              <a:ahLst/>
              <a:cxnLst/>
              <a:rect l="l" t="t" r="r" b="b"/>
              <a:pathLst>
                <a:path w="40" h="35" extrusionOk="0">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9" name="Google Shape;1159;p20"/>
            <p:cNvSpPr/>
            <p:nvPr/>
          </p:nvSpPr>
          <p:spPr>
            <a:xfrm>
              <a:off x="4302" y="2099"/>
              <a:ext cx="113" cy="112"/>
            </a:xfrm>
            <a:custGeom>
              <a:avLst/>
              <a:gdLst/>
              <a:ahLst/>
              <a:cxnLst/>
              <a:rect l="l" t="t" r="r" b="b"/>
              <a:pathLst>
                <a:path w="42" h="42" extrusionOk="0">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0" name="Google Shape;1160;p20"/>
            <p:cNvSpPr/>
            <p:nvPr/>
          </p:nvSpPr>
          <p:spPr>
            <a:xfrm>
              <a:off x="4022" y="1842"/>
              <a:ext cx="109" cy="107"/>
            </a:xfrm>
            <a:custGeom>
              <a:avLst/>
              <a:gdLst/>
              <a:ahLst/>
              <a:cxnLst/>
              <a:rect l="l" t="t" r="r" b="b"/>
              <a:pathLst>
                <a:path w="41" h="40" extrusionOk="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1" name="Google Shape;1161;p20"/>
            <p:cNvSpPr/>
            <p:nvPr/>
          </p:nvSpPr>
          <p:spPr>
            <a:xfrm>
              <a:off x="3717" y="1620"/>
              <a:ext cx="94" cy="115"/>
            </a:xfrm>
            <a:custGeom>
              <a:avLst/>
              <a:gdLst/>
              <a:ahLst/>
              <a:cxnLst/>
              <a:rect l="l" t="t" r="r" b="b"/>
              <a:pathLst>
                <a:path w="35" h="43" extrusionOk="0">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2" name="Google Shape;1162;p20"/>
            <p:cNvSpPr/>
            <p:nvPr/>
          </p:nvSpPr>
          <p:spPr>
            <a:xfrm>
              <a:off x="4893" y="3085"/>
              <a:ext cx="110" cy="77"/>
            </a:xfrm>
            <a:custGeom>
              <a:avLst/>
              <a:gdLst/>
              <a:ahLst/>
              <a:cxnLst/>
              <a:rect l="l" t="t" r="r" b="b"/>
              <a:pathLst>
                <a:path w="41" h="29" extrusionOk="0">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3" name="Google Shape;1163;p20"/>
            <p:cNvSpPr/>
            <p:nvPr/>
          </p:nvSpPr>
          <p:spPr>
            <a:xfrm>
              <a:off x="5038" y="3844"/>
              <a:ext cx="117" cy="24"/>
            </a:xfrm>
            <a:custGeom>
              <a:avLst/>
              <a:gdLst/>
              <a:ahLst/>
              <a:cxnLst/>
              <a:rect l="l" t="t" r="r" b="b"/>
              <a:pathLst>
                <a:path w="44" h="9" extrusionOk="0">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4" name="Google Shape;1164;p20"/>
            <p:cNvSpPr/>
            <p:nvPr/>
          </p:nvSpPr>
          <p:spPr>
            <a:xfrm>
              <a:off x="3880" y="1719"/>
              <a:ext cx="99" cy="118"/>
            </a:xfrm>
            <a:custGeom>
              <a:avLst/>
              <a:gdLst/>
              <a:ahLst/>
              <a:cxnLst/>
              <a:rect l="l" t="t" r="r" b="b"/>
              <a:pathLst>
                <a:path w="37" h="44" extrusionOk="0">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5" name="Google Shape;1165;p20"/>
            <p:cNvSpPr/>
            <p:nvPr/>
          </p:nvSpPr>
          <p:spPr>
            <a:xfrm>
              <a:off x="4645" y="2556"/>
              <a:ext cx="117" cy="96"/>
            </a:xfrm>
            <a:custGeom>
              <a:avLst/>
              <a:gdLst/>
              <a:ahLst/>
              <a:cxnLst/>
              <a:rect l="l" t="t" r="r" b="b"/>
              <a:pathLst>
                <a:path w="44" h="36" extrusionOk="0">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6" name="Google Shape;1166;p20"/>
            <p:cNvSpPr/>
            <p:nvPr/>
          </p:nvSpPr>
          <p:spPr>
            <a:xfrm>
              <a:off x="2212" y="425"/>
              <a:ext cx="2069" cy="853"/>
            </a:xfrm>
            <a:custGeom>
              <a:avLst/>
              <a:gdLst/>
              <a:ahLst/>
              <a:cxnLst/>
              <a:rect l="l" t="t" r="r" b="b"/>
              <a:pathLst>
                <a:path w="774" h="319" extrusionOk="0">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7" name="Google Shape;1167;p20"/>
            <p:cNvSpPr/>
            <p:nvPr/>
          </p:nvSpPr>
          <p:spPr>
            <a:xfrm>
              <a:off x="2212" y="864"/>
              <a:ext cx="762" cy="216"/>
            </a:xfrm>
            <a:custGeom>
              <a:avLst/>
              <a:gdLst/>
              <a:ahLst/>
              <a:cxnLst/>
              <a:rect l="l" t="t" r="r" b="b"/>
              <a:pathLst>
                <a:path w="285" h="81" extrusionOk="0">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8" name="Google Shape;1168;p20"/>
            <p:cNvSpPr/>
            <p:nvPr/>
          </p:nvSpPr>
          <p:spPr>
            <a:xfrm>
              <a:off x="4065" y="1273"/>
              <a:ext cx="898" cy="820"/>
            </a:xfrm>
            <a:custGeom>
              <a:avLst/>
              <a:gdLst/>
              <a:ahLst/>
              <a:cxnLst/>
              <a:rect l="l" t="t" r="r" b="b"/>
              <a:pathLst>
                <a:path w="336" h="307" extrusionOk="0">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9" name="Google Shape;1169;p20"/>
            <p:cNvSpPr/>
            <p:nvPr/>
          </p:nvSpPr>
          <p:spPr>
            <a:xfrm>
              <a:off x="4693" y="2181"/>
              <a:ext cx="762" cy="1687"/>
            </a:xfrm>
            <a:custGeom>
              <a:avLst/>
              <a:gdLst/>
              <a:ahLst/>
              <a:cxnLst/>
              <a:rect l="l" t="t" r="r" b="b"/>
              <a:pathLst>
                <a:path w="285" h="631" extrusionOk="0">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70" name="Google Shape;1170;p20"/>
            <p:cNvSpPr/>
            <p:nvPr/>
          </p:nvSpPr>
          <p:spPr>
            <a:xfrm>
              <a:off x="2212" y="2112"/>
              <a:ext cx="2002" cy="1756"/>
            </a:xfrm>
            <a:custGeom>
              <a:avLst/>
              <a:gdLst/>
              <a:ahLst/>
              <a:cxnLst/>
              <a:rect l="l" t="t" r="r" b="b"/>
              <a:pathLst>
                <a:path w="749" h="657" extrusionOk="0">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grpSp>
      <p:sp>
        <p:nvSpPr>
          <p:cNvPr id="1171" name="Google Shape;1171;p20"/>
          <p:cNvSpPr/>
          <p:nvPr/>
        </p:nvSpPr>
        <p:spPr>
          <a:xfrm>
            <a:off x="0" y="-91360"/>
            <a:ext cx="12192000" cy="6990457"/>
          </a:xfrm>
          <a:prstGeom prst="rect">
            <a:avLst/>
          </a:prstGeom>
          <a:solidFill>
            <a:srgbClr val="A71D21">
              <a:alpha val="49803"/>
            </a:srgbClr>
          </a:solidFill>
          <a:ln>
            <a:noFill/>
          </a:ln>
        </p:spPr>
        <p:txBody>
          <a:bodyPr spcFirstLastPara="1" wrap="square" lIns="91425" tIns="45700" rIns="91425" bIns="45700" anchor="ctr" anchorCtr="0">
            <a:noAutofit/>
          </a:bodyPr>
          <a:lstStyle/>
          <a:p>
            <a:pPr algn="ctr"/>
            <a:endParaRPr lang="en-US" b="1">
              <a:solidFill>
                <a:srgbClr val="2B2B2B"/>
              </a:solidFill>
              <a:latin typeface="Montserrat"/>
              <a:ea typeface="Montserrat"/>
              <a:cs typeface="Montserrat"/>
            </a:endParaRPr>
          </a:p>
        </p:txBody>
      </p:sp>
      <p:sp>
        <p:nvSpPr>
          <p:cNvPr id="1172" name="Google Shape;1172;p20"/>
          <p:cNvSpPr/>
          <p:nvPr/>
        </p:nvSpPr>
        <p:spPr>
          <a:xfrm>
            <a:off x="4258169" y="5228708"/>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r" rtl="0">
              <a:spcBef>
                <a:spcPts val="0"/>
              </a:spcBef>
              <a:spcAft>
                <a:spcPts val="0"/>
              </a:spcAft>
              <a:buNone/>
            </a:pPr>
            <a:endParaRPr sz="1600">
              <a:solidFill>
                <a:schemeClr val="lt1"/>
              </a:solidFill>
              <a:latin typeface="Montserrat"/>
              <a:ea typeface="Montserrat"/>
              <a:cs typeface="Montserrat"/>
              <a:sym typeface="Montserrat"/>
            </a:endParaRPr>
          </a:p>
        </p:txBody>
      </p:sp>
      <p:grpSp>
        <p:nvGrpSpPr>
          <p:cNvPr id="1173" name="Google Shape;1173;p20"/>
          <p:cNvGrpSpPr/>
          <p:nvPr/>
        </p:nvGrpSpPr>
        <p:grpSpPr>
          <a:xfrm>
            <a:off x="184567" y="1289829"/>
            <a:ext cx="12763836" cy="5008213"/>
            <a:chOff x="314909" y="1537051"/>
            <a:chExt cx="12763836" cy="5008213"/>
          </a:xfrm>
        </p:grpSpPr>
        <p:sp>
          <p:nvSpPr>
            <p:cNvPr id="1174" name="Google Shape;1174;p20"/>
            <p:cNvSpPr txBox="1"/>
            <p:nvPr/>
          </p:nvSpPr>
          <p:spPr>
            <a:xfrm>
              <a:off x="462087" y="1537051"/>
              <a:ext cx="5982977" cy="523180"/>
            </a:xfrm>
            <a:prstGeom prst="rect">
              <a:avLst/>
            </a:prstGeom>
            <a:noFill/>
            <a:ln>
              <a:noFill/>
            </a:ln>
          </p:spPr>
          <p:txBody>
            <a:bodyPr spcFirstLastPara="1" wrap="square" lIns="91425" tIns="45700" rIns="91425" bIns="45700" anchor="b" anchorCtr="0">
              <a:spAutoFit/>
            </a:bodyPr>
            <a:lstStyle/>
            <a:p>
              <a:pPr marL="0" marR="0" lvl="0" indent="0" algn="l" rtl="0">
                <a:spcBef>
                  <a:spcPts val="0"/>
                </a:spcBef>
                <a:spcAft>
                  <a:spcPts val="0"/>
                </a:spcAft>
                <a:buNone/>
              </a:pPr>
              <a:r>
                <a:rPr lang="en-US" sz="2800" b="1">
                  <a:solidFill>
                    <a:schemeClr val="bg2"/>
                  </a:solidFill>
                  <a:latin typeface="Montserrat"/>
                  <a:ea typeface="Montserrat"/>
                  <a:cs typeface="Montserrat"/>
                  <a:sym typeface="Montserrat"/>
                </a:rPr>
                <a:t>Let's Connect!</a:t>
              </a:r>
              <a:endParaRPr lang="en-US" sz="2800" b="1">
                <a:solidFill>
                  <a:schemeClr val="bg2"/>
                </a:solidFill>
                <a:latin typeface="Montserrat"/>
                <a:ea typeface="Montserrat"/>
                <a:cs typeface="Montserrat"/>
              </a:endParaRPr>
            </a:p>
          </p:txBody>
        </p:sp>
        <p:cxnSp>
          <p:nvCxnSpPr>
            <p:cNvPr id="1175" name="Google Shape;1175;p20"/>
            <p:cNvCxnSpPr/>
            <p:nvPr/>
          </p:nvCxnSpPr>
          <p:spPr>
            <a:xfrm rot="10800000">
              <a:off x="314909" y="6545264"/>
              <a:ext cx="9396755" cy="0"/>
            </a:xfrm>
            <a:prstGeom prst="straightConnector1">
              <a:avLst/>
            </a:prstGeom>
            <a:noFill/>
            <a:ln w="31750" cap="flat" cmpd="sng">
              <a:solidFill>
                <a:schemeClr val="lt1"/>
              </a:solidFill>
              <a:prstDash val="solid"/>
              <a:miter lim="800000"/>
              <a:headEnd type="oval" w="med" len="med"/>
              <a:tailEnd type="none" w="sm" len="sm"/>
            </a:ln>
          </p:spPr>
        </p:cxnSp>
        <p:sp>
          <p:nvSpPr>
            <p:cNvPr id="1176" name="Google Shape;1176;p20"/>
            <p:cNvSpPr/>
            <p:nvPr/>
          </p:nvSpPr>
          <p:spPr>
            <a:xfrm>
              <a:off x="517610" y="4568077"/>
              <a:ext cx="692338" cy="692338"/>
            </a:xfrm>
            <a:prstGeom prst="ellipse">
              <a:avLst/>
            </a:prstGeom>
            <a:solidFill>
              <a:srgbClr val="F6F8F8">
                <a:alpha val="9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77" name="Google Shape;1177;p20"/>
            <p:cNvSpPr txBox="1"/>
            <p:nvPr/>
          </p:nvSpPr>
          <p:spPr>
            <a:xfrm>
              <a:off x="1255771" y="4702636"/>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1 (289)-952-8845</a:t>
              </a:r>
              <a:endParaRPr/>
            </a:p>
          </p:txBody>
        </p:sp>
        <p:sp>
          <p:nvSpPr>
            <p:cNvPr id="1178" name="Google Shape;1178;p20"/>
            <p:cNvSpPr/>
            <p:nvPr/>
          </p:nvSpPr>
          <p:spPr>
            <a:xfrm>
              <a:off x="9365495" y="4602765"/>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79" name="Google Shape;1179;p20"/>
            <p:cNvSpPr txBox="1"/>
            <p:nvPr/>
          </p:nvSpPr>
          <p:spPr>
            <a:xfrm>
              <a:off x="10110711" y="4772603"/>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1 (289)-813-9135</a:t>
              </a:r>
              <a:endParaRPr/>
            </a:p>
          </p:txBody>
        </p:sp>
        <p:sp>
          <p:nvSpPr>
            <p:cNvPr id="1180" name="Google Shape;1180;p20"/>
            <p:cNvSpPr/>
            <p:nvPr/>
          </p:nvSpPr>
          <p:spPr>
            <a:xfrm>
              <a:off x="4423909" y="4546910"/>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81" name="Google Shape;1181;p20"/>
            <p:cNvSpPr txBox="1"/>
            <p:nvPr/>
          </p:nvSpPr>
          <p:spPr>
            <a:xfrm>
              <a:off x="5190292" y="4752025"/>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info@vizioconsulting.com</a:t>
              </a:r>
              <a:endParaRPr/>
            </a:p>
          </p:txBody>
        </p:sp>
        <p:sp>
          <p:nvSpPr>
            <p:cNvPr id="1182" name="Google Shape;1182;p20"/>
            <p:cNvSpPr/>
            <p:nvPr/>
          </p:nvSpPr>
          <p:spPr>
            <a:xfrm>
              <a:off x="468391" y="5547509"/>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83" name="Google Shape;1183;p20"/>
            <p:cNvSpPr txBox="1"/>
            <p:nvPr/>
          </p:nvSpPr>
          <p:spPr>
            <a:xfrm>
              <a:off x="1234774" y="5717346"/>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www.vizioconsulting.com</a:t>
              </a:r>
              <a:endParaRPr/>
            </a:p>
          </p:txBody>
        </p:sp>
        <p:sp>
          <p:nvSpPr>
            <p:cNvPr id="1184" name="Google Shape;1184;p20"/>
            <p:cNvSpPr txBox="1"/>
            <p:nvPr/>
          </p:nvSpPr>
          <p:spPr>
            <a:xfrm>
              <a:off x="5224024" y="5581211"/>
              <a:ext cx="5747470"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2 Robert Speck Parkway, Suite 750 Mississauga, ON L4Z 1H8 Canada</a:t>
              </a:r>
              <a:endParaRPr/>
            </a:p>
          </p:txBody>
        </p:sp>
        <p:pic>
          <p:nvPicPr>
            <p:cNvPr id="1185" name="Google Shape;1185;p20" descr="Email with solid fill"/>
            <p:cNvPicPr preferRelativeResize="0"/>
            <p:nvPr/>
          </p:nvPicPr>
          <p:blipFill rotWithShape="1">
            <a:blip r:embed="rId4">
              <a:alphaModFix/>
            </a:blip>
            <a:srcRect/>
            <a:stretch/>
          </p:blipFill>
          <p:spPr>
            <a:xfrm>
              <a:off x="4555043" y="4656877"/>
              <a:ext cx="373626" cy="373626"/>
            </a:xfrm>
            <a:prstGeom prst="rect">
              <a:avLst/>
            </a:prstGeom>
            <a:noFill/>
            <a:ln>
              <a:noFill/>
            </a:ln>
          </p:spPr>
        </p:pic>
        <p:pic>
          <p:nvPicPr>
            <p:cNvPr id="1186" name="Google Shape;1186;p20" descr="Internet with solid fill"/>
            <p:cNvPicPr preferRelativeResize="0"/>
            <p:nvPr/>
          </p:nvPicPr>
          <p:blipFill rotWithShape="1">
            <a:blip r:embed="rId5">
              <a:alphaModFix/>
            </a:blip>
            <a:srcRect/>
            <a:stretch/>
          </p:blipFill>
          <p:spPr>
            <a:xfrm>
              <a:off x="613636" y="5685698"/>
              <a:ext cx="373626" cy="373626"/>
            </a:xfrm>
            <a:prstGeom prst="rect">
              <a:avLst/>
            </a:prstGeom>
            <a:noFill/>
            <a:ln>
              <a:noFill/>
            </a:ln>
          </p:spPr>
        </p:pic>
        <p:pic>
          <p:nvPicPr>
            <p:cNvPr id="1187" name="Google Shape;1187;p20" descr="Receiver with solid fill"/>
            <p:cNvPicPr preferRelativeResize="0"/>
            <p:nvPr/>
          </p:nvPicPr>
          <p:blipFill rotWithShape="1">
            <a:blip r:embed="rId6">
              <a:alphaModFix/>
            </a:blip>
            <a:srcRect/>
            <a:stretch/>
          </p:blipFill>
          <p:spPr>
            <a:xfrm>
              <a:off x="648744" y="4713322"/>
              <a:ext cx="373626" cy="373626"/>
            </a:xfrm>
            <a:prstGeom prst="rect">
              <a:avLst/>
            </a:prstGeom>
            <a:noFill/>
            <a:ln>
              <a:noFill/>
            </a:ln>
          </p:spPr>
        </p:pic>
      </p:grpSp>
      <p:pic>
        <p:nvPicPr>
          <p:cNvPr id="1190" name="Google Shape;1190;p20"/>
          <p:cNvPicPr preferRelativeResize="0"/>
          <p:nvPr/>
        </p:nvPicPr>
        <p:blipFill rotWithShape="1">
          <a:blip r:embed="rId7">
            <a:alphaModFix/>
          </a:blip>
          <a:srcRect/>
          <a:stretch/>
        </p:blipFill>
        <p:spPr>
          <a:xfrm>
            <a:off x="97366" y="111166"/>
            <a:ext cx="1725176" cy="1179319"/>
          </a:xfrm>
          <a:prstGeom prst="rect">
            <a:avLst/>
          </a:prstGeom>
          <a:noFill/>
          <a:ln>
            <a:noFill/>
          </a:ln>
        </p:spPr>
      </p:pic>
      <p:pic>
        <p:nvPicPr>
          <p:cNvPr id="1191" name="Google Shape;1191;p20">
            <a:hlinkClick r:id="rId8"/>
          </p:cNvPr>
          <p:cNvPicPr preferRelativeResize="0"/>
          <p:nvPr/>
        </p:nvPicPr>
        <p:blipFill rotWithShape="1">
          <a:blip r:embed="rId9">
            <a:alphaModFix/>
          </a:blip>
          <a:srcRect/>
          <a:stretch/>
        </p:blipFill>
        <p:spPr>
          <a:xfrm>
            <a:off x="10803764" y="6049357"/>
            <a:ext cx="381087" cy="393790"/>
          </a:xfrm>
          <a:prstGeom prst="rect">
            <a:avLst/>
          </a:prstGeom>
          <a:noFill/>
          <a:ln>
            <a:noFill/>
          </a:ln>
        </p:spPr>
      </p:pic>
      <p:pic>
        <p:nvPicPr>
          <p:cNvPr id="1192" name="Google Shape;1192;p20">
            <a:hlinkClick r:id="rId10"/>
          </p:cNvPr>
          <p:cNvPicPr preferRelativeResize="0"/>
          <p:nvPr/>
        </p:nvPicPr>
        <p:blipFill rotWithShape="1">
          <a:blip r:embed="rId11">
            <a:alphaModFix/>
          </a:blip>
          <a:srcRect/>
          <a:stretch/>
        </p:blipFill>
        <p:spPr>
          <a:xfrm>
            <a:off x="9980079" y="6075495"/>
            <a:ext cx="482710" cy="393790"/>
          </a:xfrm>
          <a:prstGeom prst="rect">
            <a:avLst/>
          </a:prstGeom>
          <a:noFill/>
          <a:ln>
            <a:noFill/>
          </a:ln>
        </p:spPr>
      </p:pic>
      <p:pic>
        <p:nvPicPr>
          <p:cNvPr id="1193" name="Google Shape;1193;p20">
            <a:hlinkClick r:id="rId12"/>
          </p:cNvPr>
          <p:cNvPicPr preferRelativeResize="0"/>
          <p:nvPr/>
        </p:nvPicPr>
        <p:blipFill rotWithShape="1">
          <a:blip r:embed="rId13">
            <a:alphaModFix/>
          </a:blip>
          <a:srcRect/>
          <a:stretch/>
        </p:blipFill>
        <p:spPr>
          <a:xfrm>
            <a:off x="11470404" y="6119955"/>
            <a:ext cx="419196" cy="304869"/>
          </a:xfrm>
          <a:prstGeom prst="rect">
            <a:avLst/>
          </a:prstGeom>
          <a:noFill/>
          <a:ln>
            <a:noFill/>
          </a:ln>
        </p:spPr>
      </p:pic>
      <p:pic>
        <p:nvPicPr>
          <p:cNvPr id="3" name="Graphic 2" descr="Marker with solid fill">
            <a:extLst>
              <a:ext uri="{FF2B5EF4-FFF2-40B4-BE49-F238E27FC236}">
                <a16:creationId xmlns:a16="http://schemas.microsoft.com/office/drawing/2014/main" id="{EAE76C76-2772-DF04-1F53-740E0149D95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0698" y="5210873"/>
            <a:ext cx="631573" cy="631573"/>
          </a:xfrm>
          <a:prstGeom prst="rect">
            <a:avLst/>
          </a:prstGeom>
        </p:spPr>
      </p:pic>
      <p:sp>
        <p:nvSpPr>
          <p:cNvPr id="4" name="TextBox 3">
            <a:extLst>
              <a:ext uri="{FF2B5EF4-FFF2-40B4-BE49-F238E27FC236}">
                <a16:creationId xmlns:a16="http://schemas.microsoft.com/office/drawing/2014/main" id="{29607ADC-355D-4F35-14C7-0B5FB9233490}"/>
              </a:ext>
            </a:extLst>
          </p:cNvPr>
          <p:cNvSpPr txBox="1"/>
          <p:nvPr/>
        </p:nvSpPr>
        <p:spPr>
          <a:xfrm>
            <a:off x="10047667" y="6205470"/>
            <a:ext cx="349877" cy="2000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solidFill>
                  <a:srgbClr val="FFFFFF"/>
                </a:solidFill>
              </a:rPr>
              <a:t>t</a:t>
            </a:r>
            <a:r>
              <a:rPr lang="en-US" sz="700">
                <a:solidFill>
                  <a:srgbClr val="FFFFFF"/>
                </a:solidFill>
                <a:hlinkClick r:id="rId10"/>
              </a:rPr>
              <a:t> </a:t>
            </a:r>
            <a:endParaRPr lang="en-US" sz="700">
              <a:solidFill>
                <a:srgbClr val="FFFFFF"/>
              </a:solidFill>
              <a:cs typeface="Arial"/>
            </a:endParaRPr>
          </a:p>
        </p:txBody>
      </p:sp>
      <p:sp>
        <p:nvSpPr>
          <p:cNvPr id="5" name="TextBox 4">
            <a:extLst>
              <a:ext uri="{FF2B5EF4-FFF2-40B4-BE49-F238E27FC236}">
                <a16:creationId xmlns:a16="http://schemas.microsoft.com/office/drawing/2014/main" id="{DBE1A693-D673-D657-6F9C-8E43145D908E}"/>
              </a:ext>
            </a:extLst>
          </p:cNvPr>
          <p:cNvSpPr txBox="1"/>
          <p:nvPr/>
        </p:nvSpPr>
        <p:spPr>
          <a:xfrm>
            <a:off x="10845219" y="6208824"/>
            <a:ext cx="50013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600">
                <a:hlinkClick r:id="rId8"/>
              </a:rPr>
              <a:t>l</a:t>
            </a:r>
            <a:endParaRPr lang="en-US" sz="600">
              <a:cs typeface="Arial"/>
            </a:endParaRPr>
          </a:p>
        </p:txBody>
      </p:sp>
      <p:sp>
        <p:nvSpPr>
          <p:cNvPr id="6" name="TextBox 5">
            <a:extLst>
              <a:ext uri="{FF2B5EF4-FFF2-40B4-BE49-F238E27FC236}">
                <a16:creationId xmlns:a16="http://schemas.microsoft.com/office/drawing/2014/main" id="{8658A39B-5A7B-8EB1-5B3F-FB7A1632F14D}"/>
              </a:ext>
            </a:extLst>
          </p:cNvPr>
          <p:cNvSpPr txBox="1"/>
          <p:nvPr/>
        </p:nvSpPr>
        <p:spPr>
          <a:xfrm>
            <a:off x="11471051" y="6244375"/>
            <a:ext cx="27432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600">
                <a:solidFill>
                  <a:schemeClr val="tx2"/>
                </a:solidFill>
                <a:hlinkClick r:id="rId16">
                  <a:extLst>
                    <a:ext uri="{A12FA001-AC4F-418D-AE19-62706E023703}">
                      <ahyp:hlinkClr xmlns:ahyp="http://schemas.microsoft.com/office/drawing/2018/hyperlinkcolor" val="tx"/>
                    </a:ext>
                  </a:extLst>
                </a:hlinkClick>
              </a:rPr>
              <a:t>y</a:t>
            </a:r>
            <a:endParaRPr lang="en-US" sz="600">
              <a:solidFill>
                <a:schemeClr val="tx2"/>
              </a:solidFill>
              <a:cs typeface="Arial"/>
            </a:endParaRPr>
          </a:p>
        </p:txBody>
      </p:sp>
      <p:pic>
        <p:nvPicPr>
          <p:cNvPr id="7" name="Graphic 6" descr="Printer with solid fill">
            <a:extLst>
              <a:ext uri="{FF2B5EF4-FFF2-40B4-BE49-F238E27FC236}">
                <a16:creationId xmlns:a16="http://schemas.microsoft.com/office/drawing/2014/main" id="{327DDEBF-DA67-C169-534B-FF17FBD43AB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99352" y="4507050"/>
            <a:ext cx="363940" cy="363940"/>
          </a:xfrm>
          <a:prstGeom prst="rect">
            <a:avLst/>
          </a:prstGeom>
        </p:spPr>
      </p:pic>
      <p:pic>
        <p:nvPicPr>
          <p:cNvPr id="2" name="Picture 7" descr="Shape, circle&#10;&#10;Description automatically generated">
            <a:extLst>
              <a:ext uri="{FF2B5EF4-FFF2-40B4-BE49-F238E27FC236}">
                <a16:creationId xmlns:a16="http://schemas.microsoft.com/office/drawing/2014/main" id="{032F9877-0CAB-DD5D-1B9F-BC9027695EAB}"/>
              </a:ext>
            </a:extLst>
          </p:cNvPr>
          <p:cNvPicPr>
            <a:picLocks noChangeAspect="1"/>
          </p:cNvPicPr>
          <p:nvPr/>
        </p:nvPicPr>
        <p:blipFill>
          <a:blip r:embed="rId19"/>
          <a:stretch>
            <a:fillRect/>
          </a:stretch>
        </p:blipFill>
        <p:spPr>
          <a:xfrm>
            <a:off x="349955" y="2034478"/>
            <a:ext cx="1769534" cy="1751876"/>
          </a:xfrm>
          <a:prstGeom prst="rect">
            <a:avLst/>
          </a:prstGeom>
        </p:spPr>
      </p:pic>
      <p:pic>
        <p:nvPicPr>
          <p:cNvPr id="8" name="Picture 8">
            <a:extLst>
              <a:ext uri="{FF2B5EF4-FFF2-40B4-BE49-F238E27FC236}">
                <a16:creationId xmlns:a16="http://schemas.microsoft.com/office/drawing/2014/main" id="{A1947DCF-DEE7-3F62-B6B8-32F46BBF8631}"/>
              </a:ext>
            </a:extLst>
          </p:cNvPr>
          <p:cNvPicPr>
            <a:picLocks noChangeAspect="1"/>
          </p:cNvPicPr>
          <p:nvPr/>
        </p:nvPicPr>
        <p:blipFill>
          <a:blip r:embed="rId20"/>
          <a:stretch>
            <a:fillRect/>
          </a:stretch>
        </p:blipFill>
        <p:spPr>
          <a:xfrm>
            <a:off x="549274" y="2207329"/>
            <a:ext cx="1441451" cy="1441451"/>
          </a:xfrm>
          <a:prstGeom prst="rect">
            <a:avLst/>
          </a:prstGeom>
        </p:spPr>
      </p:pic>
      <p:sp>
        <p:nvSpPr>
          <p:cNvPr id="9" name="TextBox 8">
            <a:extLst>
              <a:ext uri="{FF2B5EF4-FFF2-40B4-BE49-F238E27FC236}">
                <a16:creationId xmlns:a16="http://schemas.microsoft.com/office/drawing/2014/main" id="{E405E7D4-21C9-6643-69CA-E3731670C8AC}"/>
              </a:ext>
            </a:extLst>
          </p:cNvPr>
          <p:cNvSpPr txBox="1"/>
          <p:nvPr/>
        </p:nvSpPr>
        <p:spPr>
          <a:xfrm>
            <a:off x="2342444" y="2483555"/>
            <a:ext cx="318911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2"/>
                </a:solidFill>
              </a:rPr>
              <a:t>Asma Asaf</a:t>
            </a:r>
          </a:p>
          <a:p>
            <a:r>
              <a:rPr lang="en-US" sz="1200" b="1" i="1">
                <a:solidFill>
                  <a:schemeClr val="bg2"/>
                </a:solidFill>
              </a:rPr>
              <a:t>Project &amp; Event Manager</a:t>
            </a:r>
          </a:p>
          <a:p>
            <a:endParaRPr lang="en-US" sz="1200" b="1">
              <a:solidFill>
                <a:schemeClr val="bg2"/>
              </a:solidFill>
            </a:endParaRPr>
          </a:p>
          <a:p>
            <a:r>
              <a:rPr lang="en-US" sz="1200" b="1">
                <a:solidFill>
                  <a:schemeClr val="bg2"/>
                </a:solidFill>
              </a:rPr>
              <a:t>asma.asaf@vizioconsulting.com</a:t>
            </a:r>
          </a:p>
        </p:txBody>
      </p:sp>
      <p:pic>
        <p:nvPicPr>
          <p:cNvPr id="10" name="Picture 7" descr="Shape, circle&#10;&#10;Description automatically generated">
            <a:extLst>
              <a:ext uri="{FF2B5EF4-FFF2-40B4-BE49-F238E27FC236}">
                <a16:creationId xmlns:a16="http://schemas.microsoft.com/office/drawing/2014/main" id="{1D04DECF-A643-F9F4-1514-C5BD3ABA01BA}"/>
              </a:ext>
            </a:extLst>
          </p:cNvPr>
          <p:cNvPicPr>
            <a:picLocks noChangeAspect="1"/>
          </p:cNvPicPr>
          <p:nvPr/>
        </p:nvPicPr>
        <p:blipFill>
          <a:blip r:embed="rId19"/>
          <a:stretch>
            <a:fillRect/>
          </a:stretch>
        </p:blipFill>
        <p:spPr>
          <a:xfrm>
            <a:off x="6290733" y="1992145"/>
            <a:ext cx="1769534" cy="1751876"/>
          </a:xfrm>
          <a:prstGeom prst="rect">
            <a:avLst/>
          </a:prstGeom>
        </p:spPr>
      </p:pic>
      <p:pic>
        <p:nvPicPr>
          <p:cNvPr id="11" name="Picture 11" descr="A picture containing person, indoor, plate, smiling&#10;&#10;Description automatically generated">
            <a:extLst>
              <a:ext uri="{FF2B5EF4-FFF2-40B4-BE49-F238E27FC236}">
                <a16:creationId xmlns:a16="http://schemas.microsoft.com/office/drawing/2014/main" id="{56B53C43-E555-FFB8-7765-4331A3168A32}"/>
              </a:ext>
            </a:extLst>
          </p:cNvPr>
          <p:cNvPicPr>
            <a:picLocks noChangeAspect="1"/>
          </p:cNvPicPr>
          <p:nvPr/>
        </p:nvPicPr>
        <p:blipFill>
          <a:blip r:embed="rId21"/>
          <a:stretch>
            <a:fillRect/>
          </a:stretch>
        </p:blipFill>
        <p:spPr>
          <a:xfrm>
            <a:off x="6497107" y="2179107"/>
            <a:ext cx="1385007" cy="1385007"/>
          </a:xfrm>
          <a:prstGeom prst="rect">
            <a:avLst/>
          </a:prstGeom>
        </p:spPr>
      </p:pic>
      <p:sp>
        <p:nvSpPr>
          <p:cNvPr id="12" name="TextBox 11">
            <a:extLst>
              <a:ext uri="{FF2B5EF4-FFF2-40B4-BE49-F238E27FC236}">
                <a16:creationId xmlns:a16="http://schemas.microsoft.com/office/drawing/2014/main" id="{33347A69-06C0-055B-80F2-2025D057B760}"/>
              </a:ext>
            </a:extLst>
          </p:cNvPr>
          <p:cNvSpPr txBox="1"/>
          <p:nvPr/>
        </p:nvSpPr>
        <p:spPr>
          <a:xfrm>
            <a:off x="8149166" y="2483555"/>
            <a:ext cx="323144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2"/>
                </a:solidFill>
              </a:rPr>
              <a:t>Sajjad Hassan</a:t>
            </a:r>
          </a:p>
          <a:p>
            <a:r>
              <a:rPr lang="en-US" sz="1200" b="1" i="1">
                <a:solidFill>
                  <a:schemeClr val="bg2"/>
                </a:solidFill>
              </a:rPr>
              <a:t>SME FP&amp;A Solutions</a:t>
            </a:r>
          </a:p>
          <a:p>
            <a:endParaRPr lang="en-US" sz="1200" b="1">
              <a:solidFill>
                <a:schemeClr val="bg2"/>
              </a:solidFill>
            </a:endParaRPr>
          </a:p>
          <a:p>
            <a:r>
              <a:rPr lang="en-US" sz="1200" b="1">
                <a:solidFill>
                  <a:schemeClr val="bg2"/>
                </a:solidFill>
              </a:rPr>
              <a:t>sajjad.hassan@vizioconsulting.com</a:t>
            </a:r>
          </a:p>
        </p:txBody>
      </p:sp>
    </p:spTree>
    <p:extLst>
      <p:ext uri="{BB962C8B-B14F-4D97-AF65-F5344CB8AC3E}">
        <p14:creationId xmlns:p14="http://schemas.microsoft.com/office/powerpoint/2010/main" val="39751074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a:extLst>
              <a:ext uri="{FF2B5EF4-FFF2-40B4-BE49-F238E27FC236}">
                <a16:creationId xmlns:a16="http://schemas.microsoft.com/office/drawing/2014/main" id="{F9884FAD-5993-8E45-77C5-E7208842ECC0}"/>
              </a:ext>
            </a:extLst>
          </p:cNvPr>
          <p:cNvPicPr>
            <a:picLocks noGrp="1" noChangeAspect="1"/>
          </p:cNvPicPr>
          <p:nvPr>
            <p:ph type="pic" sz="quarter" idx="10"/>
          </p:nvPr>
        </p:nvPicPr>
        <p:blipFill rotWithShape="1">
          <a:blip r:embed="rId3"/>
          <a:srcRect t="7821" b="7821"/>
          <a:stretch/>
        </p:blipFill>
        <p:spPr>
          <a:xfrm>
            <a:off x="0" y="-42672"/>
            <a:ext cx="12192000" cy="6858000"/>
          </a:xfrm>
        </p:spPr>
      </p:pic>
      <p:sp>
        <p:nvSpPr>
          <p:cNvPr id="2" name="Rectangle 1">
            <a:extLst>
              <a:ext uri="{FF2B5EF4-FFF2-40B4-BE49-F238E27FC236}">
                <a16:creationId xmlns:a16="http://schemas.microsoft.com/office/drawing/2014/main" id="{B56E0A21-B305-4438-8EAB-D5FBF6A9AC3A}"/>
              </a:ext>
            </a:extLst>
          </p:cNvPr>
          <p:cNvSpPr/>
          <p:nvPr/>
        </p:nvSpPr>
        <p:spPr>
          <a:xfrm>
            <a:off x="0" y="-44857"/>
            <a:ext cx="12192000" cy="6900672"/>
          </a:xfrm>
          <a:prstGeom prst="rect">
            <a:avLst/>
          </a:prstGeom>
          <a:gradFill flip="none" rotWithShape="1">
            <a:gsLst>
              <a:gs pos="0">
                <a:schemeClr val="accent1">
                  <a:alpha val="95000"/>
                </a:schemeClr>
              </a:gs>
              <a:gs pos="100000">
                <a:schemeClr val="accent4">
                  <a:alpha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nvGrpSpPr>
          <p:cNvPr id="55" name="Group 54">
            <a:extLst>
              <a:ext uri="{FF2B5EF4-FFF2-40B4-BE49-F238E27FC236}">
                <a16:creationId xmlns:a16="http://schemas.microsoft.com/office/drawing/2014/main" id="{22A2FC12-3DFD-4B65-927A-748332572A8A}"/>
              </a:ext>
            </a:extLst>
          </p:cNvPr>
          <p:cNvGrpSpPr>
            <a:grpSpLocks noChangeAspect="1"/>
          </p:cNvGrpSpPr>
          <p:nvPr/>
        </p:nvGrpSpPr>
        <p:grpSpPr bwMode="auto">
          <a:xfrm rot="10800000" flipH="1">
            <a:off x="-36575" y="-198980"/>
            <a:ext cx="5541287" cy="6317176"/>
            <a:chOff x="1526" y="-393"/>
            <a:chExt cx="4628" cy="5103"/>
          </a:xfrm>
          <a:solidFill>
            <a:schemeClr val="bg1">
              <a:alpha val="20000"/>
            </a:schemeClr>
          </a:solidFill>
        </p:grpSpPr>
        <p:sp>
          <p:nvSpPr>
            <p:cNvPr id="137" name="Freeform 5">
              <a:extLst>
                <a:ext uri="{FF2B5EF4-FFF2-40B4-BE49-F238E27FC236}">
                  <a16:creationId xmlns:a16="http://schemas.microsoft.com/office/drawing/2014/main" id="{6EC808EC-F725-4FB2-8E06-B8588A76D598}"/>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8" name="Freeform 6">
              <a:extLst>
                <a:ext uri="{FF2B5EF4-FFF2-40B4-BE49-F238E27FC236}">
                  <a16:creationId xmlns:a16="http://schemas.microsoft.com/office/drawing/2014/main" id="{E4A47CD0-2623-4020-A7C1-752A0CFB908C}"/>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9" name="Freeform 7">
              <a:extLst>
                <a:ext uri="{FF2B5EF4-FFF2-40B4-BE49-F238E27FC236}">
                  <a16:creationId xmlns:a16="http://schemas.microsoft.com/office/drawing/2014/main" id="{F9F94140-9D4A-42C8-AD7B-526F5410E212}"/>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0" name="Freeform 8">
              <a:extLst>
                <a:ext uri="{FF2B5EF4-FFF2-40B4-BE49-F238E27FC236}">
                  <a16:creationId xmlns:a16="http://schemas.microsoft.com/office/drawing/2014/main" id="{9E7EF8F6-831C-47E2-A92E-2C75FBC7AFB9}"/>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1" name="Freeform 9">
              <a:extLst>
                <a:ext uri="{FF2B5EF4-FFF2-40B4-BE49-F238E27FC236}">
                  <a16:creationId xmlns:a16="http://schemas.microsoft.com/office/drawing/2014/main" id="{DE86970D-80B4-4908-94CA-361C16AC2E3F}"/>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2" name="Freeform 10">
              <a:extLst>
                <a:ext uri="{FF2B5EF4-FFF2-40B4-BE49-F238E27FC236}">
                  <a16:creationId xmlns:a16="http://schemas.microsoft.com/office/drawing/2014/main" id="{B0DA631C-F384-49F7-8088-87C2C3AC7EF0}"/>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3" name="Freeform 11">
              <a:extLst>
                <a:ext uri="{FF2B5EF4-FFF2-40B4-BE49-F238E27FC236}">
                  <a16:creationId xmlns:a16="http://schemas.microsoft.com/office/drawing/2014/main" id="{82FE49F6-E4F7-4F50-9EF2-EA634258EDC1}"/>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4" name="Freeform 12">
              <a:extLst>
                <a:ext uri="{FF2B5EF4-FFF2-40B4-BE49-F238E27FC236}">
                  <a16:creationId xmlns:a16="http://schemas.microsoft.com/office/drawing/2014/main" id="{EAC4796F-58DC-420C-9029-703592AA3C8E}"/>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5" name="Freeform 13">
              <a:extLst>
                <a:ext uri="{FF2B5EF4-FFF2-40B4-BE49-F238E27FC236}">
                  <a16:creationId xmlns:a16="http://schemas.microsoft.com/office/drawing/2014/main" id="{9BA740F4-D40E-45E7-8319-1B1002191261}"/>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6" name="Freeform 14">
              <a:extLst>
                <a:ext uri="{FF2B5EF4-FFF2-40B4-BE49-F238E27FC236}">
                  <a16:creationId xmlns:a16="http://schemas.microsoft.com/office/drawing/2014/main" id="{3126B9C9-A18F-47D7-995D-FA086CCE12DF}"/>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7" name="Freeform 15">
              <a:extLst>
                <a:ext uri="{FF2B5EF4-FFF2-40B4-BE49-F238E27FC236}">
                  <a16:creationId xmlns:a16="http://schemas.microsoft.com/office/drawing/2014/main" id="{D88EA589-B8A5-4F9A-8187-62671D4AE6AC}"/>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8" name="Freeform 16">
              <a:extLst>
                <a:ext uri="{FF2B5EF4-FFF2-40B4-BE49-F238E27FC236}">
                  <a16:creationId xmlns:a16="http://schemas.microsoft.com/office/drawing/2014/main" id="{E8D5725D-4480-474A-BBEF-7CCCA5D9BCD1}"/>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9" name="Freeform 17">
              <a:extLst>
                <a:ext uri="{FF2B5EF4-FFF2-40B4-BE49-F238E27FC236}">
                  <a16:creationId xmlns:a16="http://schemas.microsoft.com/office/drawing/2014/main" id="{E8A45D51-00B4-489F-BE18-B11B6ADE1C98}"/>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0" name="Freeform 18">
              <a:extLst>
                <a:ext uri="{FF2B5EF4-FFF2-40B4-BE49-F238E27FC236}">
                  <a16:creationId xmlns:a16="http://schemas.microsoft.com/office/drawing/2014/main" id="{60EFB2E7-D75C-4F69-9915-7A0E9B2D3B7A}"/>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1" name="Freeform 19">
              <a:extLst>
                <a:ext uri="{FF2B5EF4-FFF2-40B4-BE49-F238E27FC236}">
                  <a16:creationId xmlns:a16="http://schemas.microsoft.com/office/drawing/2014/main" id="{AD8FDCF5-8ABD-4D41-98E6-F74D0B0190DB}"/>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2" name="Freeform 20">
              <a:extLst>
                <a:ext uri="{FF2B5EF4-FFF2-40B4-BE49-F238E27FC236}">
                  <a16:creationId xmlns:a16="http://schemas.microsoft.com/office/drawing/2014/main" id="{F8B3388E-917E-4883-B5BA-5E21717FED89}"/>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3" name="Freeform 21">
              <a:extLst>
                <a:ext uri="{FF2B5EF4-FFF2-40B4-BE49-F238E27FC236}">
                  <a16:creationId xmlns:a16="http://schemas.microsoft.com/office/drawing/2014/main" id="{B40C8D4D-099F-4A50-A06F-3B589D2ABBAE}"/>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4" name="Freeform 22">
              <a:extLst>
                <a:ext uri="{FF2B5EF4-FFF2-40B4-BE49-F238E27FC236}">
                  <a16:creationId xmlns:a16="http://schemas.microsoft.com/office/drawing/2014/main" id="{35583014-4A79-4321-8D14-4AE45441C39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5" name="Freeform 23">
              <a:extLst>
                <a:ext uri="{FF2B5EF4-FFF2-40B4-BE49-F238E27FC236}">
                  <a16:creationId xmlns:a16="http://schemas.microsoft.com/office/drawing/2014/main" id="{1F95F327-393C-4EEB-888A-0E036677A294}"/>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6" name="Oval 24">
              <a:extLst>
                <a:ext uri="{FF2B5EF4-FFF2-40B4-BE49-F238E27FC236}">
                  <a16:creationId xmlns:a16="http://schemas.microsoft.com/office/drawing/2014/main" id="{38E16413-3E82-48D9-8A94-E0DB32206B87}"/>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7" name="Oval 25">
              <a:extLst>
                <a:ext uri="{FF2B5EF4-FFF2-40B4-BE49-F238E27FC236}">
                  <a16:creationId xmlns:a16="http://schemas.microsoft.com/office/drawing/2014/main" id="{F3CDD3A9-0E2C-40DA-8E68-18B3B5A30C41}"/>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8" name="Oval 26">
              <a:extLst>
                <a:ext uri="{FF2B5EF4-FFF2-40B4-BE49-F238E27FC236}">
                  <a16:creationId xmlns:a16="http://schemas.microsoft.com/office/drawing/2014/main" id="{A02F1E58-F3EC-4D58-BFBC-D06953BBBB28}"/>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9" name="Oval 27">
              <a:extLst>
                <a:ext uri="{FF2B5EF4-FFF2-40B4-BE49-F238E27FC236}">
                  <a16:creationId xmlns:a16="http://schemas.microsoft.com/office/drawing/2014/main" id="{740BD080-0EA1-4DB2-925F-9D8F6020DADE}"/>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0" name="Oval 28">
              <a:extLst>
                <a:ext uri="{FF2B5EF4-FFF2-40B4-BE49-F238E27FC236}">
                  <a16:creationId xmlns:a16="http://schemas.microsoft.com/office/drawing/2014/main" id="{62493D3A-C8D1-4172-89C0-68D1CD164BA2}"/>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1" name="Oval 29">
              <a:extLst>
                <a:ext uri="{FF2B5EF4-FFF2-40B4-BE49-F238E27FC236}">
                  <a16:creationId xmlns:a16="http://schemas.microsoft.com/office/drawing/2014/main" id="{46D667F9-9415-4509-8085-080160511509}"/>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2" name="Oval 30">
              <a:extLst>
                <a:ext uri="{FF2B5EF4-FFF2-40B4-BE49-F238E27FC236}">
                  <a16:creationId xmlns:a16="http://schemas.microsoft.com/office/drawing/2014/main" id="{DBE7376D-3A23-4F43-A337-6B888F71D2F0}"/>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3" name="Oval 31">
              <a:extLst>
                <a:ext uri="{FF2B5EF4-FFF2-40B4-BE49-F238E27FC236}">
                  <a16:creationId xmlns:a16="http://schemas.microsoft.com/office/drawing/2014/main" id="{6CB76E99-FE08-4502-94E0-E6B882E0929B}"/>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4" name="Oval 32">
              <a:extLst>
                <a:ext uri="{FF2B5EF4-FFF2-40B4-BE49-F238E27FC236}">
                  <a16:creationId xmlns:a16="http://schemas.microsoft.com/office/drawing/2014/main" id="{713BCECC-17CD-45DF-89C2-51A57F743CCE}"/>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5" name="Oval 33">
              <a:extLst>
                <a:ext uri="{FF2B5EF4-FFF2-40B4-BE49-F238E27FC236}">
                  <a16:creationId xmlns:a16="http://schemas.microsoft.com/office/drawing/2014/main" id="{EA3F9D1B-35FA-4909-B0B0-770F1711DE33}"/>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6" name="Oval 34">
              <a:extLst>
                <a:ext uri="{FF2B5EF4-FFF2-40B4-BE49-F238E27FC236}">
                  <a16:creationId xmlns:a16="http://schemas.microsoft.com/office/drawing/2014/main" id="{7150D8F9-A11F-4B91-BCB2-F3B662D71F0A}"/>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7" name="Oval 35">
              <a:extLst>
                <a:ext uri="{FF2B5EF4-FFF2-40B4-BE49-F238E27FC236}">
                  <a16:creationId xmlns:a16="http://schemas.microsoft.com/office/drawing/2014/main" id="{113B7050-4E28-4843-B4D2-D480EFF1346D}"/>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8" name="Oval 36">
              <a:extLst>
                <a:ext uri="{FF2B5EF4-FFF2-40B4-BE49-F238E27FC236}">
                  <a16:creationId xmlns:a16="http://schemas.microsoft.com/office/drawing/2014/main" id="{C8ABD3DB-EEEF-41BE-A8F8-B7DFF4F47CEA}"/>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9" name="Oval 37">
              <a:extLst>
                <a:ext uri="{FF2B5EF4-FFF2-40B4-BE49-F238E27FC236}">
                  <a16:creationId xmlns:a16="http://schemas.microsoft.com/office/drawing/2014/main" id="{ACC974D2-2D53-4718-BBDC-935CA74277C0}"/>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0" name="Oval 38">
              <a:extLst>
                <a:ext uri="{FF2B5EF4-FFF2-40B4-BE49-F238E27FC236}">
                  <a16:creationId xmlns:a16="http://schemas.microsoft.com/office/drawing/2014/main" id="{9CF20437-CE40-4B15-BCC0-5F7A14C0C132}"/>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1" name="Oval 39">
              <a:extLst>
                <a:ext uri="{FF2B5EF4-FFF2-40B4-BE49-F238E27FC236}">
                  <a16:creationId xmlns:a16="http://schemas.microsoft.com/office/drawing/2014/main" id="{F7F48863-516A-4A87-ACB1-E190105D3E8D}"/>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2" name="Oval 40">
              <a:extLst>
                <a:ext uri="{FF2B5EF4-FFF2-40B4-BE49-F238E27FC236}">
                  <a16:creationId xmlns:a16="http://schemas.microsoft.com/office/drawing/2014/main" id="{2C551063-E7B4-4608-87D6-7D79AB12CE37}"/>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3" name="Oval 41">
              <a:extLst>
                <a:ext uri="{FF2B5EF4-FFF2-40B4-BE49-F238E27FC236}">
                  <a16:creationId xmlns:a16="http://schemas.microsoft.com/office/drawing/2014/main" id="{0A64365C-0746-4A43-8565-C50EF257E394}"/>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4" name="Oval 42">
              <a:extLst>
                <a:ext uri="{FF2B5EF4-FFF2-40B4-BE49-F238E27FC236}">
                  <a16:creationId xmlns:a16="http://schemas.microsoft.com/office/drawing/2014/main" id="{0CB9E5BD-4000-4C83-B072-75C5F8A9E7D7}"/>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5" name="Oval 43">
              <a:extLst>
                <a:ext uri="{FF2B5EF4-FFF2-40B4-BE49-F238E27FC236}">
                  <a16:creationId xmlns:a16="http://schemas.microsoft.com/office/drawing/2014/main" id="{920A29F5-CB90-49C3-852D-9A47AADE568D}"/>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6" name="Oval 44">
              <a:extLst>
                <a:ext uri="{FF2B5EF4-FFF2-40B4-BE49-F238E27FC236}">
                  <a16:creationId xmlns:a16="http://schemas.microsoft.com/office/drawing/2014/main" id="{BF098DFA-391D-4CBC-A74A-024D68D39C44}"/>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7" name="Freeform 45">
              <a:extLst>
                <a:ext uri="{FF2B5EF4-FFF2-40B4-BE49-F238E27FC236}">
                  <a16:creationId xmlns:a16="http://schemas.microsoft.com/office/drawing/2014/main" id="{C2BF48D1-5893-4A11-91F3-BA914A3347B7}"/>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8" name="Freeform 46">
              <a:extLst>
                <a:ext uri="{FF2B5EF4-FFF2-40B4-BE49-F238E27FC236}">
                  <a16:creationId xmlns:a16="http://schemas.microsoft.com/office/drawing/2014/main" id="{2E1D2CDE-60F0-4DE5-962F-A930E93C9251}"/>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9" name="Freeform 47">
              <a:extLst>
                <a:ext uri="{FF2B5EF4-FFF2-40B4-BE49-F238E27FC236}">
                  <a16:creationId xmlns:a16="http://schemas.microsoft.com/office/drawing/2014/main" id="{D3E3B130-8E9B-4F4E-8A8F-1CAF1FCC9708}"/>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0" name="Freeform 48">
              <a:extLst>
                <a:ext uri="{FF2B5EF4-FFF2-40B4-BE49-F238E27FC236}">
                  <a16:creationId xmlns:a16="http://schemas.microsoft.com/office/drawing/2014/main" id="{C91024FB-3AF0-40B7-A486-578C3EE9E090}"/>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1" name="Freeform 49">
              <a:extLst>
                <a:ext uri="{FF2B5EF4-FFF2-40B4-BE49-F238E27FC236}">
                  <a16:creationId xmlns:a16="http://schemas.microsoft.com/office/drawing/2014/main" id="{805121E6-9649-4245-B00C-267809CF6F31}"/>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2" name="Freeform 50">
              <a:extLst>
                <a:ext uri="{FF2B5EF4-FFF2-40B4-BE49-F238E27FC236}">
                  <a16:creationId xmlns:a16="http://schemas.microsoft.com/office/drawing/2014/main" id="{94FF4E69-487B-44BE-BB3A-AD77800D187B}"/>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3" name="Freeform 51">
              <a:extLst>
                <a:ext uri="{FF2B5EF4-FFF2-40B4-BE49-F238E27FC236}">
                  <a16:creationId xmlns:a16="http://schemas.microsoft.com/office/drawing/2014/main" id="{602F2761-EA91-41A3-A2E6-FED6D43358AF}"/>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4" name="Freeform 52">
              <a:extLst>
                <a:ext uri="{FF2B5EF4-FFF2-40B4-BE49-F238E27FC236}">
                  <a16:creationId xmlns:a16="http://schemas.microsoft.com/office/drawing/2014/main" id="{28A67B36-6C80-45FC-B705-02A49CA2A78F}"/>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5" name="Freeform 53">
              <a:extLst>
                <a:ext uri="{FF2B5EF4-FFF2-40B4-BE49-F238E27FC236}">
                  <a16:creationId xmlns:a16="http://schemas.microsoft.com/office/drawing/2014/main" id="{21BE37EA-C028-496D-BB63-351D522DBB5A}"/>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6" name="Freeform 54">
              <a:extLst>
                <a:ext uri="{FF2B5EF4-FFF2-40B4-BE49-F238E27FC236}">
                  <a16:creationId xmlns:a16="http://schemas.microsoft.com/office/drawing/2014/main" id="{49B72114-BFAF-47D5-B7E2-060E9CF5A2C9}"/>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7" name="Freeform 55">
              <a:extLst>
                <a:ext uri="{FF2B5EF4-FFF2-40B4-BE49-F238E27FC236}">
                  <a16:creationId xmlns:a16="http://schemas.microsoft.com/office/drawing/2014/main" id="{13C5E84E-BB9A-443B-8DB3-A5B91FBE9E72}"/>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8" name="Freeform 56">
              <a:extLst>
                <a:ext uri="{FF2B5EF4-FFF2-40B4-BE49-F238E27FC236}">
                  <a16:creationId xmlns:a16="http://schemas.microsoft.com/office/drawing/2014/main" id="{2734EDBB-F7EC-469F-849B-886277B17C3A}"/>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9" name="Freeform 57">
              <a:extLst>
                <a:ext uri="{FF2B5EF4-FFF2-40B4-BE49-F238E27FC236}">
                  <a16:creationId xmlns:a16="http://schemas.microsoft.com/office/drawing/2014/main" id="{9A139EE5-B75D-4F2A-B626-6D061DB4D173}"/>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0" name="Freeform 58">
              <a:extLst>
                <a:ext uri="{FF2B5EF4-FFF2-40B4-BE49-F238E27FC236}">
                  <a16:creationId xmlns:a16="http://schemas.microsoft.com/office/drawing/2014/main" id="{401FE8E1-23F7-4D17-9A77-A2677B5B25D8}"/>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1" name="Freeform 59">
              <a:extLst>
                <a:ext uri="{FF2B5EF4-FFF2-40B4-BE49-F238E27FC236}">
                  <a16:creationId xmlns:a16="http://schemas.microsoft.com/office/drawing/2014/main" id="{F0EC406E-EB7E-4965-BB32-9842B8A8D5FB}"/>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2" name="Freeform 60">
              <a:extLst>
                <a:ext uri="{FF2B5EF4-FFF2-40B4-BE49-F238E27FC236}">
                  <a16:creationId xmlns:a16="http://schemas.microsoft.com/office/drawing/2014/main" id="{A824E12A-4206-41C3-977F-1DAD51AC48CD}"/>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3" name="Freeform 61">
              <a:extLst>
                <a:ext uri="{FF2B5EF4-FFF2-40B4-BE49-F238E27FC236}">
                  <a16:creationId xmlns:a16="http://schemas.microsoft.com/office/drawing/2014/main" id="{00D08D33-372B-4CB2-A740-45F629DAF670}"/>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4" name="Freeform 62">
              <a:extLst>
                <a:ext uri="{FF2B5EF4-FFF2-40B4-BE49-F238E27FC236}">
                  <a16:creationId xmlns:a16="http://schemas.microsoft.com/office/drawing/2014/main" id="{501F0877-F22E-427C-8F06-86D6B62F85CB}"/>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5" name="Freeform 63">
              <a:extLst>
                <a:ext uri="{FF2B5EF4-FFF2-40B4-BE49-F238E27FC236}">
                  <a16:creationId xmlns:a16="http://schemas.microsoft.com/office/drawing/2014/main" id="{C8345CAC-9076-4A07-9788-72C85A0E21F6}"/>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6" name="Oval 64">
              <a:extLst>
                <a:ext uri="{FF2B5EF4-FFF2-40B4-BE49-F238E27FC236}">
                  <a16:creationId xmlns:a16="http://schemas.microsoft.com/office/drawing/2014/main" id="{FEA1D2F1-59FE-4121-8809-689B810B1D0A}"/>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7" name="Oval 65">
              <a:extLst>
                <a:ext uri="{FF2B5EF4-FFF2-40B4-BE49-F238E27FC236}">
                  <a16:creationId xmlns:a16="http://schemas.microsoft.com/office/drawing/2014/main" id="{1783800A-D982-4F46-BD56-6CB4D21D6F16}"/>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8" name="Oval 66">
              <a:extLst>
                <a:ext uri="{FF2B5EF4-FFF2-40B4-BE49-F238E27FC236}">
                  <a16:creationId xmlns:a16="http://schemas.microsoft.com/office/drawing/2014/main" id="{5352EE60-32F4-4D08-87E1-8F85A16E3A21}"/>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9" name="Oval 67">
              <a:extLst>
                <a:ext uri="{FF2B5EF4-FFF2-40B4-BE49-F238E27FC236}">
                  <a16:creationId xmlns:a16="http://schemas.microsoft.com/office/drawing/2014/main" id="{96F3FFC8-3F11-4FBE-B89C-95BB86166CAF}"/>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0" name="Oval 68">
              <a:extLst>
                <a:ext uri="{FF2B5EF4-FFF2-40B4-BE49-F238E27FC236}">
                  <a16:creationId xmlns:a16="http://schemas.microsoft.com/office/drawing/2014/main" id="{DDF2F414-339E-4FF6-843B-4D2790759E3D}"/>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1" name="Oval 69">
              <a:extLst>
                <a:ext uri="{FF2B5EF4-FFF2-40B4-BE49-F238E27FC236}">
                  <a16:creationId xmlns:a16="http://schemas.microsoft.com/office/drawing/2014/main" id="{32F47BD7-032A-4BC5-82E9-14750B303021}"/>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2" name="Oval 70">
              <a:extLst>
                <a:ext uri="{FF2B5EF4-FFF2-40B4-BE49-F238E27FC236}">
                  <a16:creationId xmlns:a16="http://schemas.microsoft.com/office/drawing/2014/main" id="{E457CFDA-B2FF-494B-B71A-27300FBE832D}"/>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3" name="Oval 71">
              <a:extLst>
                <a:ext uri="{FF2B5EF4-FFF2-40B4-BE49-F238E27FC236}">
                  <a16:creationId xmlns:a16="http://schemas.microsoft.com/office/drawing/2014/main" id="{56B1ED6A-78DE-475D-AF8F-617096CAE0E7}"/>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4" name="Oval 72">
              <a:extLst>
                <a:ext uri="{FF2B5EF4-FFF2-40B4-BE49-F238E27FC236}">
                  <a16:creationId xmlns:a16="http://schemas.microsoft.com/office/drawing/2014/main" id="{A9483A59-9114-4DF0-9D38-28354E2D663D}"/>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5" name="Oval 73">
              <a:extLst>
                <a:ext uri="{FF2B5EF4-FFF2-40B4-BE49-F238E27FC236}">
                  <a16:creationId xmlns:a16="http://schemas.microsoft.com/office/drawing/2014/main" id="{CD5CFAFD-2E99-423A-A7D0-54120120814C}"/>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6" name="Oval 74">
              <a:extLst>
                <a:ext uri="{FF2B5EF4-FFF2-40B4-BE49-F238E27FC236}">
                  <a16:creationId xmlns:a16="http://schemas.microsoft.com/office/drawing/2014/main" id="{1BBCAD26-FBE0-4B7B-BD54-47C241E867B2}"/>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7" name="Oval 75">
              <a:extLst>
                <a:ext uri="{FF2B5EF4-FFF2-40B4-BE49-F238E27FC236}">
                  <a16:creationId xmlns:a16="http://schemas.microsoft.com/office/drawing/2014/main" id="{3AADE734-1BE2-4C1F-97B8-86D549E719A5}"/>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8" name="Oval 76">
              <a:extLst>
                <a:ext uri="{FF2B5EF4-FFF2-40B4-BE49-F238E27FC236}">
                  <a16:creationId xmlns:a16="http://schemas.microsoft.com/office/drawing/2014/main" id="{51E96013-C9C1-4A72-82DB-48519B191F16}"/>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9" name="Oval 77">
              <a:extLst>
                <a:ext uri="{FF2B5EF4-FFF2-40B4-BE49-F238E27FC236}">
                  <a16:creationId xmlns:a16="http://schemas.microsoft.com/office/drawing/2014/main" id="{4A57C3FD-BE6A-4488-B72D-17B66798E7F7}"/>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0" name="Oval 78">
              <a:extLst>
                <a:ext uri="{FF2B5EF4-FFF2-40B4-BE49-F238E27FC236}">
                  <a16:creationId xmlns:a16="http://schemas.microsoft.com/office/drawing/2014/main" id="{AB1A8C02-E1CC-49FC-87A1-63EC0F41AC2C}"/>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1" name="Oval 79">
              <a:extLst>
                <a:ext uri="{FF2B5EF4-FFF2-40B4-BE49-F238E27FC236}">
                  <a16:creationId xmlns:a16="http://schemas.microsoft.com/office/drawing/2014/main" id="{3FE54593-5CE5-4D5C-A4B5-DE86CFCF60C7}"/>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2" name="Oval 80">
              <a:extLst>
                <a:ext uri="{FF2B5EF4-FFF2-40B4-BE49-F238E27FC236}">
                  <a16:creationId xmlns:a16="http://schemas.microsoft.com/office/drawing/2014/main" id="{CDFE2208-E99D-4EDE-82CE-0A458445F953}"/>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3" name="Oval 81">
              <a:extLst>
                <a:ext uri="{FF2B5EF4-FFF2-40B4-BE49-F238E27FC236}">
                  <a16:creationId xmlns:a16="http://schemas.microsoft.com/office/drawing/2014/main" id="{E6B2F2B7-7A4D-4399-885B-9FD6EF06AA2B}"/>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4" name="Oval 82">
              <a:extLst>
                <a:ext uri="{FF2B5EF4-FFF2-40B4-BE49-F238E27FC236}">
                  <a16:creationId xmlns:a16="http://schemas.microsoft.com/office/drawing/2014/main" id="{763A931E-E287-40C9-BBA9-7EA6FC802736}"/>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5" name="Oval 83">
              <a:extLst>
                <a:ext uri="{FF2B5EF4-FFF2-40B4-BE49-F238E27FC236}">
                  <a16:creationId xmlns:a16="http://schemas.microsoft.com/office/drawing/2014/main" id="{08F9651F-5AF1-4FDD-9345-923B3B43DA5F}"/>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6" name="Oval 84">
              <a:extLst>
                <a:ext uri="{FF2B5EF4-FFF2-40B4-BE49-F238E27FC236}">
                  <a16:creationId xmlns:a16="http://schemas.microsoft.com/office/drawing/2014/main" id="{3927F9A2-A5EF-4B34-9C84-3D1C49A8AE71}"/>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nvGrpSpPr>
          <p:cNvPr id="53" name="Group 52">
            <a:extLst>
              <a:ext uri="{FF2B5EF4-FFF2-40B4-BE49-F238E27FC236}">
                <a16:creationId xmlns:a16="http://schemas.microsoft.com/office/drawing/2014/main" id="{A08157F2-1689-433A-9881-256209B013C4}"/>
              </a:ext>
            </a:extLst>
          </p:cNvPr>
          <p:cNvGrpSpPr/>
          <p:nvPr/>
        </p:nvGrpSpPr>
        <p:grpSpPr>
          <a:xfrm>
            <a:off x="5797018" y="809063"/>
            <a:ext cx="6789888" cy="4843165"/>
            <a:chOff x="633870" y="658915"/>
            <a:chExt cx="7029313" cy="4633595"/>
          </a:xfrm>
        </p:grpSpPr>
        <p:sp>
          <p:nvSpPr>
            <p:cNvPr id="3" name="TextBox 2">
              <a:extLst>
                <a:ext uri="{FF2B5EF4-FFF2-40B4-BE49-F238E27FC236}">
                  <a16:creationId xmlns:a16="http://schemas.microsoft.com/office/drawing/2014/main" id="{10B5466C-DAC7-45C0-B8D5-AF3EA4E81332}"/>
                </a:ext>
              </a:extLst>
            </p:cNvPr>
            <p:cNvSpPr txBox="1"/>
            <p:nvPr/>
          </p:nvSpPr>
          <p:spPr>
            <a:xfrm>
              <a:off x="633870" y="658915"/>
              <a:ext cx="7029313" cy="1083339"/>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6F8F8"/>
                  </a:solidFill>
                  <a:effectLst/>
                  <a:uLnTx/>
                  <a:uFillTx/>
                  <a:latin typeface="Montserrat"/>
                  <a:ea typeface="+mn-ea"/>
                  <a:cs typeface="+mn-cs"/>
                </a:rPr>
                <a:t>Webinar Agenda</a:t>
              </a:r>
            </a:p>
            <a:p>
              <a:pPr marL="0" marR="0" lvl="0" indent="0" algn="l" defTabSz="914400">
                <a:lnSpc>
                  <a:spcPct val="100000"/>
                </a:lnSpc>
                <a:spcBef>
                  <a:spcPts val="0"/>
                </a:spcBef>
                <a:spcAft>
                  <a:spcPts val="0"/>
                </a:spcAft>
                <a:buClrTx/>
                <a:buSzTx/>
                <a:buFontTx/>
                <a:buNone/>
                <a:tabLst/>
                <a:defRPr/>
              </a:pPr>
              <a:endParaRPr lang="en-US" i="0" u="none" strike="noStrike" kern="1200" cap="none" spc="0" normalizeH="0" baseline="0" noProof="0">
                <a:ln>
                  <a:noFill/>
                </a:ln>
                <a:solidFill>
                  <a:srgbClr val="2B2B2B"/>
                </a:solidFill>
                <a:effectLst/>
                <a:uLnTx/>
                <a:uFillTx/>
                <a:latin typeface="Montserrat"/>
              </a:endParaRPr>
            </a:p>
          </p:txBody>
        </p:sp>
        <p:grpSp>
          <p:nvGrpSpPr>
            <p:cNvPr id="33" name="Group 32">
              <a:extLst>
                <a:ext uri="{FF2B5EF4-FFF2-40B4-BE49-F238E27FC236}">
                  <a16:creationId xmlns:a16="http://schemas.microsoft.com/office/drawing/2014/main" id="{B00843FB-D502-4788-8A19-A99F31005ED4}"/>
                </a:ext>
              </a:extLst>
            </p:cNvPr>
            <p:cNvGrpSpPr/>
            <p:nvPr/>
          </p:nvGrpSpPr>
          <p:grpSpPr>
            <a:xfrm>
              <a:off x="726849" y="1793162"/>
              <a:ext cx="6416815" cy="3499348"/>
              <a:chOff x="815749" y="2656958"/>
              <a:chExt cx="7313723" cy="3988470"/>
            </a:xfrm>
          </p:grpSpPr>
          <p:grpSp>
            <p:nvGrpSpPr>
              <p:cNvPr id="7" name="Group 6">
                <a:extLst>
                  <a:ext uri="{FF2B5EF4-FFF2-40B4-BE49-F238E27FC236}">
                    <a16:creationId xmlns:a16="http://schemas.microsoft.com/office/drawing/2014/main" id="{05C19A68-B1FE-413E-A580-D22570A63E0B}"/>
                  </a:ext>
                </a:extLst>
              </p:cNvPr>
              <p:cNvGrpSpPr/>
              <p:nvPr/>
            </p:nvGrpSpPr>
            <p:grpSpPr>
              <a:xfrm>
                <a:off x="815749" y="2656958"/>
                <a:ext cx="6159487" cy="816935"/>
                <a:chOff x="1115469" y="3356684"/>
                <a:chExt cx="6894348" cy="914400"/>
              </a:xfrm>
            </p:grpSpPr>
            <p:sp>
              <p:nvSpPr>
                <p:cNvPr id="4" name="Oval 3">
                  <a:extLst>
                    <a:ext uri="{FF2B5EF4-FFF2-40B4-BE49-F238E27FC236}">
                      <a16:creationId xmlns:a16="http://schemas.microsoft.com/office/drawing/2014/main" id="{7701C7C7-7C07-44E1-BD81-0E69EB19F5E1}"/>
                    </a:ext>
                  </a:extLst>
                </p:cNvPr>
                <p:cNvSpPr/>
                <p:nvPr/>
              </p:nvSpPr>
              <p:spPr>
                <a:xfrm>
                  <a:off x="1115469" y="3356684"/>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 name="TextBox 4">
                  <a:extLst>
                    <a:ext uri="{FF2B5EF4-FFF2-40B4-BE49-F238E27FC236}">
                      <a16:creationId xmlns:a16="http://schemas.microsoft.com/office/drawing/2014/main" id="{54E6DCAA-0668-4A1F-8A3E-CE4CB0EF16A5}"/>
                    </a:ext>
                  </a:extLst>
                </p:cNvPr>
                <p:cNvSpPr txBox="1"/>
                <p:nvPr/>
              </p:nvSpPr>
              <p:spPr>
                <a:xfrm>
                  <a:off x="2256376" y="3557039"/>
                  <a:ext cx="5753441" cy="450789"/>
                </a:xfrm>
                <a:prstGeom prst="rect">
                  <a:avLst/>
                </a:prstGeom>
                <a:noFill/>
              </p:spPr>
              <p:txBody>
                <a:bodyPr wrap="square" lIns="91440" tIns="45720" rIns="91440" bIns="45720" rtlCol="0" anchor="ctr">
                  <a:spAutoFit/>
                </a:bodyPr>
                <a:lstStyle/>
                <a:p>
                  <a:pPr>
                    <a:defRPr/>
                  </a:pPr>
                  <a:r>
                    <a:rPr lang="en-US" dirty="0">
                      <a:solidFill>
                        <a:srgbClr val="F6F8F8"/>
                      </a:solidFill>
                      <a:latin typeface="Montserrat"/>
                    </a:rPr>
                    <a:t>Introduction to VIZIO</a:t>
                  </a:r>
                  <a:endParaRPr lang="en-US" dirty="0">
                    <a:ea typeface="+mn-ea"/>
                    <a:cs typeface="+mn-cs"/>
                  </a:endParaRPr>
                </a:p>
              </p:txBody>
            </p:sp>
            <p:sp>
              <p:nvSpPr>
                <p:cNvPr id="6" name="TextBox 5">
                  <a:extLst>
                    <a:ext uri="{FF2B5EF4-FFF2-40B4-BE49-F238E27FC236}">
                      <a16:creationId xmlns:a16="http://schemas.microsoft.com/office/drawing/2014/main" id="{27B86113-7E5C-4CF7-BC72-30A9E6426A5C}"/>
                    </a:ext>
                  </a:extLst>
                </p:cNvPr>
                <p:cNvSpPr txBox="1"/>
                <p:nvPr/>
              </p:nvSpPr>
              <p:spPr>
                <a:xfrm>
                  <a:off x="1115469" y="3558660"/>
                  <a:ext cx="914400" cy="510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1</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12" name="Group 11">
                <a:extLst>
                  <a:ext uri="{FF2B5EF4-FFF2-40B4-BE49-F238E27FC236}">
                    <a16:creationId xmlns:a16="http://schemas.microsoft.com/office/drawing/2014/main" id="{73667F7B-F71F-486D-9049-DE3D14C42E80}"/>
                  </a:ext>
                </a:extLst>
              </p:cNvPr>
              <p:cNvGrpSpPr/>
              <p:nvPr/>
            </p:nvGrpSpPr>
            <p:grpSpPr>
              <a:xfrm>
                <a:off x="857896" y="3637326"/>
                <a:ext cx="816935" cy="816935"/>
                <a:chOff x="1162645" y="3372408"/>
                <a:chExt cx="914400" cy="914400"/>
              </a:xfrm>
            </p:grpSpPr>
            <p:sp>
              <p:nvSpPr>
                <p:cNvPr id="13" name="Oval 12">
                  <a:extLst>
                    <a:ext uri="{FF2B5EF4-FFF2-40B4-BE49-F238E27FC236}">
                      <a16:creationId xmlns:a16="http://schemas.microsoft.com/office/drawing/2014/main" id="{52C4442E-F1C8-42F4-93D2-CE88894F514F}"/>
                    </a:ext>
                  </a:extLst>
                </p:cNvPr>
                <p:cNvSpPr/>
                <p:nvPr/>
              </p:nvSpPr>
              <p:spPr>
                <a:xfrm>
                  <a:off x="1162645" y="3372408"/>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5" name="TextBox 14">
                  <a:extLst>
                    <a:ext uri="{FF2B5EF4-FFF2-40B4-BE49-F238E27FC236}">
                      <a16:creationId xmlns:a16="http://schemas.microsoft.com/office/drawing/2014/main" id="{B96C8290-46C0-4EF5-9D3F-8CE5EF846DEB}"/>
                    </a:ext>
                  </a:extLst>
                </p:cNvPr>
                <p:cNvSpPr txBox="1"/>
                <p:nvPr/>
              </p:nvSpPr>
              <p:spPr>
                <a:xfrm>
                  <a:off x="1162645" y="3629713"/>
                  <a:ext cx="914400" cy="48835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2</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25" name="Group 24">
                <a:extLst>
                  <a:ext uri="{FF2B5EF4-FFF2-40B4-BE49-F238E27FC236}">
                    <a16:creationId xmlns:a16="http://schemas.microsoft.com/office/drawing/2014/main" id="{5A893AC5-B6DD-4239-8D1B-B55F39458285}"/>
                  </a:ext>
                </a:extLst>
              </p:cNvPr>
              <p:cNvGrpSpPr/>
              <p:nvPr/>
            </p:nvGrpSpPr>
            <p:grpSpPr>
              <a:xfrm>
                <a:off x="857897" y="4659850"/>
                <a:ext cx="7271575" cy="816936"/>
                <a:chOff x="1162645" y="3435309"/>
                <a:chExt cx="8139115" cy="914400"/>
              </a:xfrm>
            </p:grpSpPr>
            <p:sp>
              <p:nvSpPr>
                <p:cNvPr id="26" name="Oval 25">
                  <a:extLst>
                    <a:ext uri="{FF2B5EF4-FFF2-40B4-BE49-F238E27FC236}">
                      <a16:creationId xmlns:a16="http://schemas.microsoft.com/office/drawing/2014/main" id="{1A2E3B6F-9CF8-4A6F-B116-8E2BA5D27B9D}"/>
                    </a:ext>
                  </a:extLst>
                </p:cNvPr>
                <p:cNvSpPr/>
                <p:nvPr/>
              </p:nvSpPr>
              <p:spPr>
                <a:xfrm>
                  <a:off x="1162645" y="3435309"/>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7" name="TextBox 26">
                  <a:extLst>
                    <a:ext uri="{FF2B5EF4-FFF2-40B4-BE49-F238E27FC236}">
                      <a16:creationId xmlns:a16="http://schemas.microsoft.com/office/drawing/2014/main" id="{79CA1FD8-B605-4201-8645-42FB505352F5}"/>
                    </a:ext>
                  </a:extLst>
                </p:cNvPr>
                <p:cNvSpPr txBox="1"/>
                <p:nvPr/>
              </p:nvSpPr>
              <p:spPr>
                <a:xfrm>
                  <a:off x="2340320" y="3728322"/>
                  <a:ext cx="6961440" cy="450789"/>
                </a:xfrm>
                <a:prstGeom prst="rect">
                  <a:avLst/>
                </a:prstGeom>
                <a:noFill/>
              </p:spPr>
              <p:txBody>
                <a:bodyPr wrap="square" lIns="91440" tIns="45720" rIns="91440" bIns="45720" rtlCol="0" anchor="ctr">
                  <a:spAutoFit/>
                </a:bodyPr>
                <a:lstStyle/>
                <a:p>
                  <a:pPr>
                    <a:defRPr/>
                  </a:pPr>
                  <a:r>
                    <a:rPr lang="en-US" dirty="0">
                      <a:solidFill>
                        <a:srgbClr val="FFFFFF"/>
                      </a:solidFill>
                      <a:latin typeface="Montserrat"/>
                    </a:rPr>
                    <a:t>Closing Remarks</a:t>
                  </a:r>
                  <a:endParaRPr lang="en-US" dirty="0">
                    <a:solidFill>
                      <a:srgbClr val="FFFFFF"/>
                    </a:solidFill>
                  </a:endParaRPr>
                </a:p>
              </p:txBody>
            </p:sp>
            <p:sp>
              <p:nvSpPr>
                <p:cNvPr id="28" name="TextBox 27">
                  <a:extLst>
                    <a:ext uri="{FF2B5EF4-FFF2-40B4-BE49-F238E27FC236}">
                      <a16:creationId xmlns:a16="http://schemas.microsoft.com/office/drawing/2014/main" id="{599C6CB0-EC2B-4F12-92AA-1CB3D575313D}"/>
                    </a:ext>
                  </a:extLst>
                </p:cNvPr>
                <p:cNvSpPr txBox="1"/>
                <p:nvPr/>
              </p:nvSpPr>
              <p:spPr>
                <a:xfrm>
                  <a:off x="1162645" y="3675462"/>
                  <a:ext cx="914400" cy="528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3</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29" name="Group 28">
                <a:extLst>
                  <a:ext uri="{FF2B5EF4-FFF2-40B4-BE49-F238E27FC236}">
                    <a16:creationId xmlns:a16="http://schemas.microsoft.com/office/drawing/2014/main" id="{504B9611-10DE-458F-9F35-82A4C0AC9BE2}"/>
                  </a:ext>
                </a:extLst>
              </p:cNvPr>
              <p:cNvGrpSpPr/>
              <p:nvPr/>
            </p:nvGrpSpPr>
            <p:grpSpPr>
              <a:xfrm>
                <a:off x="867931" y="5828493"/>
                <a:ext cx="819386" cy="816935"/>
                <a:chOff x="1173877" y="3661779"/>
                <a:chExt cx="917143" cy="914400"/>
              </a:xfrm>
            </p:grpSpPr>
            <p:sp>
              <p:nvSpPr>
                <p:cNvPr id="30" name="Oval 29">
                  <a:extLst>
                    <a:ext uri="{FF2B5EF4-FFF2-40B4-BE49-F238E27FC236}">
                      <a16:creationId xmlns:a16="http://schemas.microsoft.com/office/drawing/2014/main" id="{B63C6AEC-31A6-44C7-A925-828AA43F0A54}"/>
                    </a:ext>
                  </a:extLst>
                </p:cNvPr>
                <p:cNvSpPr/>
                <p:nvPr/>
              </p:nvSpPr>
              <p:spPr>
                <a:xfrm>
                  <a:off x="1176620" y="3661779"/>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2" name="TextBox 31">
                  <a:extLst>
                    <a:ext uri="{FF2B5EF4-FFF2-40B4-BE49-F238E27FC236}">
                      <a16:creationId xmlns:a16="http://schemas.microsoft.com/office/drawing/2014/main" id="{CAB33E59-8BE5-4E04-AD26-E207DED6EB2F}"/>
                    </a:ext>
                  </a:extLst>
                </p:cNvPr>
                <p:cNvSpPr txBox="1"/>
                <p:nvPr/>
              </p:nvSpPr>
              <p:spPr>
                <a:xfrm>
                  <a:off x="1173877" y="3841700"/>
                  <a:ext cx="914400" cy="52844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4</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grpSp>
      <p:sp>
        <p:nvSpPr>
          <p:cNvPr id="218" name="Rectangle: Top Corners Rounded 217">
            <a:extLst>
              <a:ext uri="{FF2B5EF4-FFF2-40B4-BE49-F238E27FC236}">
                <a16:creationId xmlns:a16="http://schemas.microsoft.com/office/drawing/2014/main" id="{D3CA11D0-1F6C-4D1C-9133-7957E7FD813C}"/>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19" name="Slide Number Placeholder 5">
            <a:extLst>
              <a:ext uri="{FF2B5EF4-FFF2-40B4-BE49-F238E27FC236}">
                <a16:creationId xmlns:a16="http://schemas.microsoft.com/office/drawing/2014/main" id="{61E24673-A5CA-4834-B3CC-C164E52F601D}"/>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C8E6EA7-2C78-44B2-AD10-3A8167C5EBAD}" type="slidenum">
              <a:rPr kumimoji="0" lang="en-ID" sz="1200" b="1" i="0" u="none" strike="noStrike" kern="1200" cap="none" spc="0" normalizeH="0" baseline="0" noProof="0" smtClean="0">
                <a:ln>
                  <a:noFill/>
                </a:ln>
                <a:solidFill>
                  <a:srgbClr val="F6F8F8"/>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D" sz="1200" b="1" i="0" u="none" strike="noStrike" kern="1200" cap="none" spc="0" normalizeH="0" baseline="0" noProof="0">
              <a:ln>
                <a:noFill/>
              </a:ln>
              <a:solidFill>
                <a:srgbClr val="F6F8F8"/>
              </a:solidFill>
              <a:effectLst/>
              <a:uLnTx/>
              <a:uFillTx/>
              <a:latin typeface="Montserrat"/>
              <a:ea typeface="+mn-ea"/>
              <a:cs typeface="+mn-cs"/>
            </a:endParaRPr>
          </a:p>
        </p:txBody>
      </p:sp>
      <p:sp>
        <p:nvSpPr>
          <p:cNvPr id="236" name="Freeform: Shape 235">
            <a:extLst>
              <a:ext uri="{FF2B5EF4-FFF2-40B4-BE49-F238E27FC236}">
                <a16:creationId xmlns:a16="http://schemas.microsoft.com/office/drawing/2014/main" id="{D1EAD307-E5F9-48C3-A6A9-35A315761EF9}"/>
              </a:ext>
            </a:extLst>
          </p:cNvPr>
          <p:cNvSpPr/>
          <p:nvPr/>
        </p:nvSpPr>
        <p:spPr>
          <a:xfrm>
            <a:off x="0" y="-121920"/>
            <a:ext cx="2172176" cy="2780943"/>
          </a:xfrm>
          <a:custGeom>
            <a:avLst/>
            <a:gdLst>
              <a:gd name="connsiteX0" fmla="*/ 0 w 2785054"/>
              <a:gd name="connsiteY0" fmla="*/ 0 h 3565584"/>
              <a:gd name="connsiteX1" fmla="*/ 2785054 w 2785054"/>
              <a:gd name="connsiteY1" fmla="*/ 0 h 3565584"/>
              <a:gd name="connsiteX2" fmla="*/ 2655586 w 2785054"/>
              <a:gd name="connsiteY2" fmla="*/ 52570 h 3565584"/>
              <a:gd name="connsiteX3" fmla="*/ 1233208 w 2785054"/>
              <a:gd name="connsiteY3" fmla="*/ 1307244 h 3565584"/>
              <a:gd name="connsiteX4" fmla="*/ 144089 w 2785054"/>
              <a:gd name="connsiteY4" fmla="*/ 3260429 h 3565584"/>
              <a:gd name="connsiteX5" fmla="*/ 0 w 2785054"/>
              <a:gd name="connsiteY5" fmla="*/ 3565584 h 356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5054" h="3565584">
                <a:moveTo>
                  <a:pt x="0" y="0"/>
                </a:moveTo>
                <a:lnTo>
                  <a:pt x="2785054" y="0"/>
                </a:lnTo>
                <a:lnTo>
                  <a:pt x="2655586" y="52570"/>
                </a:lnTo>
                <a:cubicBezTo>
                  <a:pt x="2074628" y="321406"/>
                  <a:pt x="1603811" y="742467"/>
                  <a:pt x="1233208" y="1307244"/>
                </a:cubicBezTo>
                <a:cubicBezTo>
                  <a:pt x="823108" y="1932532"/>
                  <a:pt x="473514" y="2591438"/>
                  <a:pt x="144089" y="3260429"/>
                </a:cubicBezTo>
                <a:lnTo>
                  <a:pt x="0" y="35655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6" name="TextBox 15">
            <a:extLst>
              <a:ext uri="{FF2B5EF4-FFF2-40B4-BE49-F238E27FC236}">
                <a16:creationId xmlns:a16="http://schemas.microsoft.com/office/drawing/2014/main" id="{41E1E9DB-AA61-4CE8-5253-9152D21995D1}"/>
              </a:ext>
            </a:extLst>
          </p:cNvPr>
          <p:cNvSpPr txBox="1"/>
          <p:nvPr/>
        </p:nvSpPr>
        <p:spPr>
          <a:xfrm>
            <a:off x="6750668" y="2847725"/>
            <a:ext cx="5111209" cy="923330"/>
          </a:xfrm>
          <a:prstGeom prst="rect">
            <a:avLst/>
          </a:prstGeom>
          <a:noFill/>
        </p:spPr>
        <p:txBody>
          <a:bodyPr wrap="square" lIns="91440" tIns="45720" rIns="91440" bIns="45720" rtlCol="0" anchor="ctr">
            <a:spAutoFit/>
          </a:bodyPr>
          <a:lstStyle/>
          <a:p>
            <a:pPr>
              <a:defRPr/>
            </a:pPr>
            <a:r>
              <a:rPr lang="en-US" b="1" dirty="0">
                <a:solidFill>
                  <a:srgbClr val="FFFFFF"/>
                </a:solidFill>
                <a:latin typeface="Montserrat"/>
              </a:rPr>
              <a:t>Demo: </a:t>
            </a:r>
            <a:endParaRPr lang="en-US" b="1" dirty="0"/>
          </a:p>
          <a:p>
            <a:pPr>
              <a:defRPr/>
            </a:pPr>
            <a:r>
              <a:rPr lang="en-US" dirty="0">
                <a:solidFill>
                  <a:srgbClr val="FFFFFF"/>
                </a:solidFill>
                <a:latin typeface="Montserrat"/>
              </a:rPr>
              <a:t>Asset Retirement  Obligation Management Planning Accelerator</a:t>
            </a:r>
            <a:endParaRPr lang="en-US" dirty="0">
              <a:solidFill>
                <a:srgbClr val="FFFFFF"/>
              </a:solidFill>
            </a:endParaRPr>
          </a:p>
        </p:txBody>
      </p:sp>
      <p:sp>
        <p:nvSpPr>
          <p:cNvPr id="10" name="TextBox 9">
            <a:extLst>
              <a:ext uri="{FF2B5EF4-FFF2-40B4-BE49-F238E27FC236}">
                <a16:creationId xmlns:a16="http://schemas.microsoft.com/office/drawing/2014/main" id="{54B186C5-21CF-6D67-EF40-22DA649BD346}"/>
              </a:ext>
            </a:extLst>
          </p:cNvPr>
          <p:cNvSpPr txBox="1"/>
          <p:nvPr/>
        </p:nvSpPr>
        <p:spPr>
          <a:xfrm>
            <a:off x="6814227" y="5063263"/>
            <a:ext cx="2114550" cy="369332"/>
          </a:xfrm>
          <a:prstGeom prst="rect">
            <a:avLst/>
          </a:prstGeom>
          <a:noFill/>
        </p:spPr>
        <p:txBody>
          <a:bodyPr wrap="square" rtlCol="0">
            <a:spAutoFit/>
          </a:bodyPr>
          <a:lstStyle/>
          <a:p>
            <a:r>
              <a:rPr lang="en-US" dirty="0">
                <a:solidFill>
                  <a:schemeClr val="bg2"/>
                </a:solidFill>
              </a:rPr>
              <a:t>Q&amp;A</a:t>
            </a:r>
          </a:p>
        </p:txBody>
      </p:sp>
      <p:pic>
        <p:nvPicPr>
          <p:cNvPr id="9" name="Picture 8" descr="A white text on a black background&#10;&#10;Description automatically generated with medium confidence">
            <a:extLst>
              <a:ext uri="{FF2B5EF4-FFF2-40B4-BE49-F238E27FC236}">
                <a16:creationId xmlns:a16="http://schemas.microsoft.com/office/drawing/2014/main" id="{93C5CCFA-DB66-0765-60C6-88A7031CF2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325" y="6153189"/>
            <a:ext cx="917576" cy="452691"/>
          </a:xfrm>
          <a:prstGeom prst="rect">
            <a:avLst/>
          </a:prstGeom>
        </p:spPr>
      </p:pic>
    </p:spTree>
    <p:extLst>
      <p:ext uri="{BB962C8B-B14F-4D97-AF65-F5344CB8AC3E}">
        <p14:creationId xmlns:p14="http://schemas.microsoft.com/office/powerpoint/2010/main" val="3930312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a:solidFill>
                  <a:schemeClr val="bg2"/>
                </a:solidFill>
              </a:rPr>
              <a:t>Appendix A</a:t>
            </a:r>
            <a:endParaRPr lang="en-US"/>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54754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p:txBody>
          <a:bodyPr lIns="91440" tIns="45720" rIns="91440" bIns="45720" anchor="ctr"/>
          <a:lstStyle/>
          <a:p>
            <a:pPr algn="ctr"/>
            <a:r>
              <a:rPr lang="de-DE" err="1">
                <a:solidFill>
                  <a:schemeClr val="bg2"/>
                </a:solidFill>
              </a:rPr>
              <a:t>Detailed</a:t>
            </a:r>
            <a:r>
              <a:rPr lang="de-DE">
                <a:solidFill>
                  <a:schemeClr val="bg2"/>
                </a:solidFill>
              </a:rPr>
              <a:t> Disclaimer</a:t>
            </a:r>
            <a:endParaRPr lang="en-US">
              <a:solidFill>
                <a:schemeClr val="bg2"/>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sp>
        <p:nvSpPr>
          <p:cNvPr id="2" name="TextBox 1">
            <a:extLst>
              <a:ext uri="{FF2B5EF4-FFF2-40B4-BE49-F238E27FC236}">
                <a16:creationId xmlns:a16="http://schemas.microsoft.com/office/drawing/2014/main" id="{A227BD4E-587B-B654-3D1C-8ACAB901D10D}"/>
              </a:ext>
            </a:extLst>
          </p:cNvPr>
          <p:cNvSpPr txBox="1"/>
          <p:nvPr/>
        </p:nvSpPr>
        <p:spPr>
          <a:xfrm>
            <a:off x="1071769" y="2330726"/>
            <a:ext cx="10230677" cy="41857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buFont typeface="Arial"/>
              <a:buChar char="•"/>
              <a:defRPr/>
            </a:pP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SAP Analytics Cloud is the sole registered property of SAP.</a:t>
            </a: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For more information about SAP Analytics Cloud please refer to: </a:t>
            </a:r>
            <a:r>
              <a:rPr kumimoji="0" lang="en-US" sz="1400" b="0" i="1" u="none" strike="noStrike" kern="1200" cap="none" spc="0" normalizeH="0" baseline="0" noProof="0" dirty="0">
                <a:ln>
                  <a:noFill/>
                </a:ln>
                <a:solidFill>
                  <a:srgbClr val="4F52B2"/>
                </a:solidFill>
                <a:effectLst/>
                <a:uLnTx/>
                <a:uFillTx/>
                <a:latin typeface="-apple-system"/>
                <a:ea typeface="+mn-ea"/>
                <a:cs typeface="+mn-cs"/>
                <a:hlinkClick r:id="rId7" tooltip="https://www.sap.com/canada/products/cloud-analytics/features.html"/>
              </a:rPr>
              <a:t>https://www.sap.com/canada/products/cloud-analytics/features.html</a:t>
            </a:r>
            <a:endParaRPr lang="en-US" sz="1400" b="0" i="1" u="none" strike="noStrike" kern="1200" cap="none" spc="0" normalizeH="0" baseline="0" noProof="0" dirty="0">
              <a:ln>
                <a:noFill/>
              </a:ln>
              <a:solidFill>
                <a:srgbClr val="4F52B2"/>
              </a:solidFill>
              <a:effectLst/>
              <a:uLnTx/>
              <a:uFillTx/>
              <a:latin typeface="-apple-system"/>
            </a:endParaRPr>
          </a:p>
          <a:p>
            <a:pPr marL="0" marR="0" lvl="0" indent="0" algn="just" defTabSz="914400" rtl="0" eaLnBrk="1" fontAlgn="auto" latinLnBrk="0" hangingPunct="1">
              <a:lnSpc>
                <a:spcPct val="100000"/>
              </a:lnSpc>
              <a:spcBef>
                <a:spcPts val="0"/>
              </a:spcBef>
              <a:spcAft>
                <a:spcPts val="0"/>
              </a:spcAft>
              <a:buClrTx/>
              <a:buSzTx/>
              <a:buFont typeface="Arial"/>
              <a:buChar char="•"/>
              <a:tabLst/>
              <a:defRPr/>
            </a:pPr>
            <a:endParaRPr kumimoji="0" lang="en-US" sz="1400" b="0" i="1" u="none" strike="noStrike" kern="1200" cap="none" spc="0" normalizeH="0" baseline="0" noProof="0" dirty="0">
              <a:ln>
                <a:noFill/>
              </a:ln>
              <a:solidFill>
                <a:srgbClr val="2B2B2B"/>
              </a:solidFill>
              <a:effectLst/>
              <a:uLnTx/>
              <a:uFillTx/>
              <a:latin typeface="Montserrat"/>
              <a:ea typeface="+mn-ea"/>
              <a:cs typeface="+mn-cs"/>
            </a:endParaRPr>
          </a:p>
          <a:p>
            <a:pPr algn="just">
              <a:buFont typeface="Arial"/>
              <a:buChar char="•"/>
              <a:defRPr/>
            </a:pP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VIZIO is using </a:t>
            </a:r>
            <a:r>
              <a:rPr lang="en-US" sz="1400" dirty="0">
                <a:solidFill>
                  <a:srgbClr val="2B2B2B"/>
                </a:solidFill>
                <a:latin typeface="Montserrat"/>
              </a:rPr>
              <a:t>SAP</a:t>
            </a:r>
            <a:r>
              <a:rPr kumimoji="0" lang="en-US" sz="1400" b="0" i="0" u="none" strike="noStrike" kern="1200" cap="none" spc="0" normalizeH="0" baseline="0" noProof="0" dirty="0">
                <a:ln>
                  <a:noFill/>
                </a:ln>
                <a:solidFill>
                  <a:srgbClr val="2B2B2B"/>
                </a:solidFill>
                <a:effectLst/>
                <a:uLnTx/>
                <a:uFillTx/>
                <a:latin typeface="Montserrat"/>
                <a:ea typeface="+mn-ea"/>
                <a:cs typeface="+mn-cs"/>
              </a:rPr>
              <a:t> Analytics Cloud as a running platform for all our planning templates and content.</a:t>
            </a:r>
            <a:endParaRPr lang="en-US" sz="1400" b="0" i="0" u="none" strike="noStrike" kern="1200" cap="none" spc="0" normalizeH="0" baseline="0" noProof="0" dirty="0">
              <a:ln>
                <a:noFill/>
              </a:ln>
              <a:solidFill>
                <a:srgbClr val="2B2B2B"/>
              </a:solidFill>
              <a:effectLst/>
              <a:uLnTx/>
              <a:uFillTx/>
              <a:latin typeface="Montserrat"/>
            </a:endParaRPr>
          </a:p>
          <a:p>
            <a:pPr marL="0" marR="0" lvl="0" indent="0" algn="just" defTabSz="914400">
              <a:lnSpc>
                <a:spcPct val="100000"/>
              </a:lnSpc>
              <a:spcBef>
                <a:spcPts val="0"/>
              </a:spcBef>
              <a:spcAft>
                <a:spcPts val="0"/>
              </a:spcAft>
              <a:buClrTx/>
              <a:buSzTx/>
              <a:buFont typeface="Arial"/>
              <a:buChar char="•"/>
              <a:tabLst/>
              <a:defRPr/>
            </a:pPr>
            <a:endParaRPr lang="en-US" sz="1400" b="0" i="0" u="none" strike="noStrike" kern="1200" cap="none" spc="0" normalizeH="0" baseline="0" noProof="0" dirty="0">
              <a:ln>
                <a:noFill/>
              </a:ln>
              <a:solidFill>
                <a:srgbClr val="2B2B2B"/>
              </a:solidFill>
              <a:effectLst/>
              <a:uLnTx/>
              <a:uFillTx/>
              <a:latin typeface="Montserrat"/>
            </a:endParaRPr>
          </a:p>
          <a:p>
            <a:pPr algn="just">
              <a:buFont typeface="Arial"/>
              <a:buChar char="•"/>
              <a:defRPr/>
            </a:pPr>
            <a:r>
              <a:rPr lang="en-US" sz="1400" dirty="0">
                <a:solidFill>
                  <a:srgbClr val="2B2B2B"/>
                </a:solidFill>
                <a:latin typeface="Montserrat"/>
              </a:rPr>
              <a:t> The template you will be viewing in today's demo is a basic format of our solution. It can be enhanced and expanded to meet the individual needs of each client with minimum effort. Keeping this in mind, implementation timelines for each project are impacted by data sets and conditions provided by each respective client. </a:t>
            </a:r>
          </a:p>
          <a:p>
            <a:pPr algn="just">
              <a:defRPr/>
            </a:pPr>
            <a:endParaRPr lang="en-US" sz="1400" dirty="0">
              <a:solidFill>
                <a:srgbClr val="2B2B2B"/>
              </a:solidFill>
              <a:latin typeface="Montserrat"/>
            </a:endParaRPr>
          </a:p>
          <a:p>
            <a:pPr algn="just">
              <a:buFont typeface="Arial"/>
              <a:buChar char="•"/>
              <a:defRPr/>
            </a:pP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The information in this presentation is not a commitment, promise or legal obligation to deliver any code, material or functionality.</a:t>
            </a:r>
            <a:r>
              <a:rPr lang="en-US" sz="1400" dirty="0">
                <a:solidFill>
                  <a:srgbClr val="2B2B2B"/>
                </a:solidFill>
                <a:latin typeface="Montserrat"/>
              </a:rPr>
              <a:t> </a:t>
            </a:r>
            <a:endParaRPr lang="en-US" sz="1400" b="0" i="0" u="none" strike="noStrike" kern="1200" cap="none" spc="0" normalizeH="0" baseline="0" noProof="0" dirty="0">
              <a:ln>
                <a:noFill/>
              </a:ln>
              <a:solidFill>
                <a:srgbClr val="2B2B2B"/>
              </a:solidFill>
              <a:effectLst/>
              <a:uLnTx/>
              <a:uFillTx/>
              <a:latin typeface="Montserrat"/>
            </a:endParaRPr>
          </a:p>
          <a:p>
            <a:pPr algn="just">
              <a:buFont typeface="Arial"/>
              <a:buChar char="•"/>
              <a:defRPr/>
            </a:pPr>
            <a:endParaRPr lang="en-US" sz="1400" dirty="0">
              <a:solidFill>
                <a:srgbClr val="2B2B2B"/>
              </a:solidFill>
              <a:latin typeface="Montserrat"/>
            </a:endParaRPr>
          </a:p>
          <a:p>
            <a:pPr algn="just">
              <a:buFont typeface="Arial"/>
              <a:buChar char="•"/>
              <a:defRPr/>
            </a:pP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This presentation is for informational purposes only and may not be incorporated in any contract.</a:t>
            </a:r>
            <a:r>
              <a:rPr lang="en-US" sz="1400" dirty="0">
                <a:solidFill>
                  <a:srgbClr val="2B2B2B"/>
                </a:solidFill>
                <a:latin typeface="Montserrat"/>
              </a:rPr>
              <a:t> </a:t>
            </a:r>
            <a:endParaRPr lang="en-US" sz="1400" b="0" i="0" u="none" strike="noStrike" kern="1200" cap="none" spc="0" normalizeH="0" baseline="0" noProof="0" dirty="0">
              <a:ln>
                <a:noFill/>
              </a:ln>
              <a:solidFill>
                <a:srgbClr val="2B2B2B"/>
              </a:solidFill>
              <a:effectLst/>
              <a:uLnTx/>
              <a:uFillTx/>
              <a:latin typeface="Montserrat"/>
            </a:endParaRPr>
          </a:p>
          <a:p>
            <a:pPr algn="just">
              <a:buFont typeface="Arial"/>
              <a:buChar char="•"/>
              <a:defRPr/>
            </a:pPr>
            <a:endParaRPr lang="en-US" sz="1400" dirty="0">
              <a:solidFill>
                <a:srgbClr val="2B2B2B"/>
              </a:solidFill>
              <a:latin typeface="Montserrat"/>
            </a:endParaRPr>
          </a:p>
          <a:p>
            <a:pPr algn="just">
              <a:buFont typeface="Arial"/>
              <a:buChar char="•"/>
              <a:defRPr/>
            </a:pPr>
            <a:r>
              <a:rPr lang="en-US" sz="1400" dirty="0">
                <a:solidFill>
                  <a:srgbClr val="2B2B2B"/>
                </a:solidFill>
                <a:latin typeface="Montserrat"/>
              </a:rPr>
              <a:t> </a:t>
            </a:r>
            <a:r>
              <a:rPr kumimoji="0" lang="en-US" sz="1400" b="0" i="0" u="none" strike="noStrike" kern="1200" cap="none" spc="0" normalizeH="0" baseline="0" noProof="0" dirty="0">
                <a:ln>
                  <a:noFill/>
                </a:ln>
                <a:solidFill>
                  <a:srgbClr val="2B2B2B"/>
                </a:solidFill>
                <a:effectLst/>
                <a:uLnTx/>
                <a:uFillTx/>
                <a:latin typeface="Montserrat"/>
                <a:ea typeface="+mn-ea"/>
                <a:cs typeface="+mn-cs"/>
              </a:rPr>
              <a:t>All forward statements are subject to various risks and uncertainties that could cause actual results to differ materially from expectations.</a:t>
            </a:r>
            <a:r>
              <a:rPr lang="en-US" sz="1400" dirty="0">
                <a:solidFill>
                  <a:srgbClr val="2B2B2B"/>
                </a:solidFill>
                <a:latin typeface="Montserrat"/>
              </a:rPr>
              <a:t> </a:t>
            </a:r>
            <a:endParaRPr lang="en-US" sz="1400" b="0" i="0" u="none" strike="noStrike" kern="1200" cap="none" spc="0" normalizeH="0" baseline="0" noProof="0" dirty="0">
              <a:ln>
                <a:noFill/>
              </a:ln>
              <a:solidFill>
                <a:srgbClr val="2B2B2B"/>
              </a:solidFill>
              <a:effectLst/>
              <a:uLnTx/>
              <a:uFillTx/>
              <a:latin typeface="Montserrat"/>
            </a:endParaRPr>
          </a:p>
          <a:p>
            <a:pPr>
              <a:buFont typeface="Arial"/>
              <a:buChar char="•"/>
              <a:defRPr/>
            </a:pPr>
            <a:endParaRPr lang="en-US" sz="1400" dirty="0">
              <a:solidFill>
                <a:srgbClr val="2B2B2B"/>
              </a:solidFill>
              <a:latin typeface="Montserrat"/>
            </a:endParaRPr>
          </a:p>
          <a:p>
            <a:pPr>
              <a:buFont typeface="Arial"/>
              <a:buChar char="•"/>
              <a:defRPr/>
            </a:pPr>
            <a:endParaRPr lang="en-US" sz="1400" dirty="0">
              <a:solidFill>
                <a:srgbClr val="2B2B2B"/>
              </a:solidFill>
              <a:latin typeface="Montserrat"/>
            </a:endParaRPr>
          </a:p>
        </p:txBody>
      </p:sp>
    </p:spTree>
    <p:extLst>
      <p:ext uri="{BB962C8B-B14F-4D97-AF65-F5344CB8AC3E}">
        <p14:creationId xmlns:p14="http://schemas.microsoft.com/office/powerpoint/2010/main" val="11822507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3534" y="584079"/>
            <a:ext cx="11971347" cy="1036475"/>
          </a:xfrm>
        </p:spPr>
        <p:txBody>
          <a:bodyPr lIns="91440" tIns="45720" rIns="91440" bIns="45720" anchor="ctr"/>
          <a:lstStyle/>
          <a:p>
            <a:pPr marL="0" lvl="0" indent="0" algn="ctr">
              <a:buNone/>
            </a:pPr>
            <a:r>
              <a:rPr lang="en-ID" sz="2800" b="1" dirty="0">
                <a:solidFill>
                  <a:srgbClr val="FFFFFF"/>
                </a:solidFill>
                <a:latin typeface="Montserrat" pitchFamily="2"/>
              </a:rPr>
              <a:t>VIZIO’s Implementation Capabilities</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2" name="TextBox 33">
            <a:extLst>
              <a:ext uri="{FF2B5EF4-FFF2-40B4-BE49-F238E27FC236}">
                <a16:creationId xmlns:a16="http://schemas.microsoft.com/office/drawing/2014/main" id="{A2696E7B-743C-82D0-AE5A-39946165D41A}"/>
              </a:ext>
            </a:extLst>
          </p:cNvPr>
          <p:cNvSpPr txBox="1"/>
          <p:nvPr/>
        </p:nvSpPr>
        <p:spPr>
          <a:xfrm>
            <a:off x="274773" y="2279412"/>
            <a:ext cx="11629407" cy="261610"/>
          </a:xfrm>
          <a:prstGeom prst="rect">
            <a:avLst/>
          </a:prstGeom>
          <a:noFill/>
          <a:ln cap="flat">
            <a:noFill/>
          </a:ln>
        </p:spPr>
        <p:txBody>
          <a:bodyPr vert="horz" wrap="square" lIns="91440" tIns="45720" rIns="91440" bIns="45720" anchor="t" anchorCtr="1" compatLnSpc="1">
            <a:spAutoFit/>
          </a:bodyPr>
          <a:lstStyle/>
          <a:p>
            <a:r>
              <a:rPr lang="en-US" sz="1100" dirty="0"/>
              <a:t>We offer end-to-end services which include:</a:t>
            </a:r>
          </a:p>
        </p:txBody>
      </p:sp>
      <p:pic>
        <p:nvPicPr>
          <p:cNvPr id="3" name="Picture 2" descr="Diagram&#10;&#10;Description automatically generated">
            <a:extLst>
              <a:ext uri="{FF2B5EF4-FFF2-40B4-BE49-F238E27FC236}">
                <a16:creationId xmlns:a16="http://schemas.microsoft.com/office/drawing/2014/main" id="{558B5A59-B01B-ACCB-FAD5-FAABA9CD5DEC}"/>
              </a:ext>
            </a:extLst>
          </p:cNvPr>
          <p:cNvPicPr>
            <a:picLocks noChangeAspect="1"/>
          </p:cNvPicPr>
          <p:nvPr/>
        </p:nvPicPr>
        <p:blipFill>
          <a:blip r:embed="rId7"/>
          <a:stretch>
            <a:fillRect/>
          </a:stretch>
        </p:blipFill>
        <p:spPr>
          <a:xfrm>
            <a:off x="708378" y="3462264"/>
            <a:ext cx="10814755" cy="2110165"/>
          </a:xfrm>
          <a:prstGeom prst="rect">
            <a:avLst/>
          </a:prstGeom>
        </p:spPr>
      </p:pic>
    </p:spTree>
    <p:extLst>
      <p:ext uri="{BB962C8B-B14F-4D97-AF65-F5344CB8AC3E}">
        <p14:creationId xmlns:p14="http://schemas.microsoft.com/office/powerpoint/2010/main" val="2299155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C9F6F3-9152-4468-BC01-9A3E74F519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C2C9F6F3-9152-4468-BC01-9A3E74F519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Selective Focus Photography of Man Facing Computer">
            <a:extLst>
              <a:ext uri="{FF2B5EF4-FFF2-40B4-BE49-F238E27FC236}">
                <a16:creationId xmlns:a16="http://schemas.microsoft.com/office/drawing/2014/main" id="{BA0F536F-AE6E-4D5A-8B03-6B46FF052AE5}"/>
              </a:ext>
            </a:extLst>
          </p:cNvPr>
          <p:cNvPicPr>
            <a:picLocks noGrp="1" noChangeAspect="1" noChangeArrowheads="1"/>
          </p:cNvPicPr>
          <p:nvPr>
            <p:ph type="pic" sz="quarter" idx="12"/>
          </p:nvPr>
        </p:nvPicPr>
        <p:blipFill>
          <a:blip r:embed="rId6">
            <a:extLst>
              <a:ext uri="{28A0092B-C50C-407E-A947-70E740481C1C}">
                <a14:useLocalDpi xmlns:a14="http://schemas.microsoft.com/office/drawing/2010/main" val="0"/>
              </a:ext>
            </a:extLst>
          </a:blip>
          <a:srcRect t="29822" b="29822"/>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CE5FE42-08CC-477C-B32F-22FF3E442ACB}"/>
              </a:ext>
            </a:extLst>
          </p:cNvPr>
          <p:cNvSpPr/>
          <p:nvPr/>
        </p:nvSpPr>
        <p:spPr>
          <a:xfrm>
            <a:off x="0" y="4089400"/>
            <a:ext cx="12192000" cy="2768600"/>
          </a:xfrm>
          <a:prstGeom prst="rect">
            <a:avLst/>
          </a:prstGeom>
          <a:gradFill flip="none" rotWithShape="1">
            <a:gsLst>
              <a:gs pos="0">
                <a:schemeClr val="accent1">
                  <a:alpha val="95000"/>
                </a:schemeClr>
              </a:gs>
              <a:gs pos="100000">
                <a:schemeClr val="accent2">
                  <a:alpha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Picture 4" descr="Logo, company name&#10;&#10;Description automatically generated">
            <a:extLst>
              <a:ext uri="{FF2B5EF4-FFF2-40B4-BE49-F238E27FC236}">
                <a16:creationId xmlns:a16="http://schemas.microsoft.com/office/drawing/2014/main" id="{BF44E932-A12B-42AD-8F10-9EA676832D2F}"/>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9896" t="16095" r="9896" b="16095"/>
          <a:stretch/>
        </p:blipFill>
        <p:spPr>
          <a:xfrm>
            <a:off x="301723" y="6122477"/>
            <a:ext cx="917575" cy="530287"/>
          </a:xfrm>
          <a:prstGeom prst="rect">
            <a:avLst/>
          </a:prstGeom>
        </p:spPr>
      </p:pic>
      <p:sp>
        <p:nvSpPr>
          <p:cNvPr id="8" name="Rectangle: Top Corners Rounded 7">
            <a:extLst>
              <a:ext uri="{FF2B5EF4-FFF2-40B4-BE49-F238E27FC236}">
                <a16:creationId xmlns:a16="http://schemas.microsoft.com/office/drawing/2014/main" id="{C43C55EC-D6F4-489C-A22D-D94D16ED6446}"/>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Slide Number Placeholder 5">
            <a:extLst>
              <a:ext uri="{FF2B5EF4-FFF2-40B4-BE49-F238E27FC236}">
                <a16:creationId xmlns:a16="http://schemas.microsoft.com/office/drawing/2014/main" id="{B7318FFA-5C76-4079-8742-2FF871E92166}"/>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8E6EA7-2C78-44B2-AD10-3A8167C5EBAD}" type="slidenum">
              <a:rPr lang="en-ID" b="1" smtClean="0">
                <a:solidFill>
                  <a:schemeClr val="bg1"/>
                </a:solidFill>
              </a:rPr>
              <a:pPr/>
              <a:t>23</a:t>
            </a:fld>
            <a:endParaRPr lang="en-ID" b="1">
              <a:solidFill>
                <a:schemeClr val="bg1"/>
              </a:solidFill>
            </a:endParaRPr>
          </a:p>
        </p:txBody>
      </p:sp>
      <p:sp>
        <p:nvSpPr>
          <p:cNvPr id="13" name="Rectangle: Rounded Corners 12">
            <a:extLst>
              <a:ext uri="{FF2B5EF4-FFF2-40B4-BE49-F238E27FC236}">
                <a16:creationId xmlns:a16="http://schemas.microsoft.com/office/drawing/2014/main" id="{318891E1-C1E9-4FAA-BCD0-9505639AC25E}"/>
              </a:ext>
            </a:extLst>
          </p:cNvPr>
          <p:cNvSpPr/>
          <p:nvPr/>
        </p:nvSpPr>
        <p:spPr>
          <a:xfrm>
            <a:off x="1554427" y="2401609"/>
            <a:ext cx="2346590" cy="2616200"/>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TextBox 22">
            <a:extLst>
              <a:ext uri="{FF2B5EF4-FFF2-40B4-BE49-F238E27FC236}">
                <a16:creationId xmlns:a16="http://schemas.microsoft.com/office/drawing/2014/main" id="{5E128D40-B562-404D-ACCB-9FDD91DBFA4E}"/>
              </a:ext>
            </a:extLst>
          </p:cNvPr>
          <p:cNvSpPr txBox="1"/>
          <p:nvPr/>
        </p:nvSpPr>
        <p:spPr>
          <a:xfrm>
            <a:off x="1678987" y="4049849"/>
            <a:ext cx="2098211" cy="400110"/>
          </a:xfrm>
          <a:prstGeom prst="rect">
            <a:avLst/>
          </a:prstGeom>
          <a:noFill/>
        </p:spPr>
        <p:txBody>
          <a:bodyPr wrap="square" lIns="91440" tIns="45720" rIns="91440" bIns="45720" rtlCol="0" anchor="t">
            <a:spAutoFit/>
          </a:bodyPr>
          <a:lstStyle/>
          <a:p>
            <a:pPr algn="ctr"/>
            <a:r>
              <a:rPr lang="en-US" sz="2000" b="1">
                <a:latin typeface="+mj-lt"/>
                <a:ea typeface="Sunflower Medium" pitchFamily="2" charset="0"/>
              </a:rPr>
              <a:t>Utilities</a:t>
            </a:r>
            <a:endParaRPr lang="id-ID" sz="2000" b="1">
              <a:latin typeface="+mj-lt"/>
              <a:ea typeface="Sunflower Medium" pitchFamily="2" charset="0"/>
            </a:endParaRPr>
          </a:p>
        </p:txBody>
      </p:sp>
      <p:sp>
        <p:nvSpPr>
          <p:cNvPr id="39" name="Oval 38">
            <a:extLst>
              <a:ext uri="{FF2B5EF4-FFF2-40B4-BE49-F238E27FC236}">
                <a16:creationId xmlns:a16="http://schemas.microsoft.com/office/drawing/2014/main" id="{F49D5E1F-1308-4481-A3B8-783B3F497581}"/>
              </a:ext>
            </a:extLst>
          </p:cNvPr>
          <p:cNvSpPr/>
          <p:nvPr/>
        </p:nvSpPr>
        <p:spPr>
          <a:xfrm>
            <a:off x="2161462"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19" name="Rectangle: Rounded Corners 18">
            <a:extLst>
              <a:ext uri="{FF2B5EF4-FFF2-40B4-BE49-F238E27FC236}">
                <a16:creationId xmlns:a16="http://schemas.microsoft.com/office/drawing/2014/main" id="{BA3233DD-769A-4C3A-9227-D69E973C498A}"/>
              </a:ext>
            </a:extLst>
          </p:cNvPr>
          <p:cNvSpPr/>
          <p:nvPr/>
        </p:nvSpPr>
        <p:spPr>
          <a:xfrm>
            <a:off x="4564193" y="2401609"/>
            <a:ext cx="2346590" cy="2657021"/>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7" name="TextBox 26">
            <a:extLst>
              <a:ext uri="{FF2B5EF4-FFF2-40B4-BE49-F238E27FC236}">
                <a16:creationId xmlns:a16="http://schemas.microsoft.com/office/drawing/2014/main" id="{B10B4CB3-2FA3-405F-AC76-D201CFBD68BB}"/>
              </a:ext>
            </a:extLst>
          </p:cNvPr>
          <p:cNvSpPr txBox="1"/>
          <p:nvPr/>
        </p:nvSpPr>
        <p:spPr>
          <a:xfrm>
            <a:off x="4756053" y="4090547"/>
            <a:ext cx="2098210" cy="400110"/>
          </a:xfrm>
          <a:prstGeom prst="rect">
            <a:avLst/>
          </a:prstGeom>
          <a:noFill/>
        </p:spPr>
        <p:txBody>
          <a:bodyPr wrap="square" lIns="91440" tIns="45720" rIns="91440" bIns="45720" rtlCol="0" anchor="t">
            <a:spAutoFit/>
          </a:bodyPr>
          <a:lstStyle/>
          <a:p>
            <a:pPr algn="ctr"/>
            <a:r>
              <a:rPr lang="en-US" sz="2000" b="1">
                <a:latin typeface="+mj-lt"/>
                <a:ea typeface="Sunflower Medium" pitchFamily="2" charset="0"/>
              </a:rPr>
              <a:t>Public Sector</a:t>
            </a:r>
            <a:endParaRPr lang="id-ID" sz="2000" b="1">
              <a:latin typeface="+mj-lt"/>
              <a:ea typeface="Sunflower Medium" pitchFamily="2" charset="0"/>
            </a:endParaRPr>
          </a:p>
        </p:txBody>
      </p:sp>
      <p:sp>
        <p:nvSpPr>
          <p:cNvPr id="40" name="Oval 39">
            <a:extLst>
              <a:ext uri="{FF2B5EF4-FFF2-40B4-BE49-F238E27FC236}">
                <a16:creationId xmlns:a16="http://schemas.microsoft.com/office/drawing/2014/main" id="{6471C181-D4D8-4D2E-96E3-A3CBE0D94423}"/>
              </a:ext>
            </a:extLst>
          </p:cNvPr>
          <p:cNvSpPr/>
          <p:nvPr/>
        </p:nvSpPr>
        <p:spPr>
          <a:xfrm>
            <a:off x="5171350"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20" name="Rectangle: Rounded Corners 19">
            <a:extLst>
              <a:ext uri="{FF2B5EF4-FFF2-40B4-BE49-F238E27FC236}">
                <a16:creationId xmlns:a16="http://schemas.microsoft.com/office/drawing/2014/main" id="{CBDC812C-4D99-4E0B-88DD-816F1461BE4A}"/>
              </a:ext>
            </a:extLst>
          </p:cNvPr>
          <p:cNvSpPr/>
          <p:nvPr/>
        </p:nvSpPr>
        <p:spPr>
          <a:xfrm>
            <a:off x="7546622" y="2401609"/>
            <a:ext cx="2346590" cy="2657022"/>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0" name="TextBox 29">
            <a:extLst>
              <a:ext uri="{FF2B5EF4-FFF2-40B4-BE49-F238E27FC236}">
                <a16:creationId xmlns:a16="http://schemas.microsoft.com/office/drawing/2014/main" id="{11FD887F-5F52-4152-9C37-75DDC231EDF0}"/>
              </a:ext>
            </a:extLst>
          </p:cNvPr>
          <p:cNvSpPr txBox="1"/>
          <p:nvPr/>
        </p:nvSpPr>
        <p:spPr>
          <a:xfrm>
            <a:off x="7636858" y="4090670"/>
            <a:ext cx="2166859" cy="400110"/>
          </a:xfrm>
          <a:prstGeom prst="rect">
            <a:avLst/>
          </a:prstGeom>
          <a:noFill/>
        </p:spPr>
        <p:txBody>
          <a:bodyPr wrap="square" lIns="91440" tIns="45720" rIns="91440" bIns="45720" rtlCol="0" anchor="t">
            <a:spAutoFit/>
          </a:bodyPr>
          <a:lstStyle/>
          <a:p>
            <a:pPr algn="ctr"/>
            <a:r>
              <a:rPr lang="en-US" sz="2000" b="1">
                <a:latin typeface="+mj-lt"/>
              </a:rPr>
              <a:t>Manufacturing</a:t>
            </a:r>
            <a:endParaRPr lang="en-US"/>
          </a:p>
        </p:txBody>
      </p:sp>
      <p:sp>
        <p:nvSpPr>
          <p:cNvPr id="41" name="Oval 40">
            <a:extLst>
              <a:ext uri="{FF2B5EF4-FFF2-40B4-BE49-F238E27FC236}">
                <a16:creationId xmlns:a16="http://schemas.microsoft.com/office/drawing/2014/main" id="{86C5193D-106E-4086-A1E3-7967992C0B42}"/>
              </a:ext>
            </a:extLst>
          </p:cNvPr>
          <p:cNvSpPr/>
          <p:nvPr/>
        </p:nvSpPr>
        <p:spPr>
          <a:xfrm>
            <a:off x="8194600"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48" name="Text Placeholder 47">
            <a:extLst>
              <a:ext uri="{FF2B5EF4-FFF2-40B4-BE49-F238E27FC236}">
                <a16:creationId xmlns:a16="http://schemas.microsoft.com/office/drawing/2014/main" id="{08EE400E-0A29-437C-8664-F23BD0868385}"/>
              </a:ext>
            </a:extLst>
          </p:cNvPr>
          <p:cNvSpPr>
            <a:spLocks noGrp="1"/>
          </p:cNvSpPr>
          <p:nvPr>
            <p:ph type="body" sz="quarter" idx="11"/>
          </p:nvPr>
        </p:nvSpPr>
        <p:spPr>
          <a:xfrm>
            <a:off x="889000" y="1454277"/>
            <a:ext cx="10414000" cy="522360"/>
          </a:xfrm>
        </p:spPr>
        <p:txBody>
          <a:bodyPr lIns="91440" tIns="45720" rIns="91440" bIns="45720" anchor="t"/>
          <a:lstStyle/>
          <a:p>
            <a:r>
              <a:rPr lang="en-ID">
                <a:ea typeface="+mn-lt"/>
                <a:cs typeface="+mn-lt"/>
              </a:rPr>
              <a:t>The team at VIZIO Consulting has several years of experience working in (but </a:t>
            </a:r>
            <a:endParaRPr lang="en-US">
              <a:ea typeface="+mn-lt"/>
              <a:cs typeface="+mn-lt"/>
            </a:endParaRPr>
          </a:p>
          <a:p>
            <a:r>
              <a:rPr lang="en-ID">
                <a:ea typeface="+mn-lt"/>
                <a:cs typeface="+mn-lt"/>
              </a:rPr>
              <a:t>not limited to) the following industries:</a:t>
            </a:r>
            <a:endParaRPr lang="en-US">
              <a:ea typeface="+mn-lt"/>
              <a:cs typeface="+mn-lt"/>
            </a:endParaRPr>
          </a:p>
          <a:p>
            <a:endParaRPr lang="en-ID" sz="1400"/>
          </a:p>
        </p:txBody>
      </p:sp>
      <p:sp>
        <p:nvSpPr>
          <p:cNvPr id="47" name="Text Placeholder 46">
            <a:extLst>
              <a:ext uri="{FF2B5EF4-FFF2-40B4-BE49-F238E27FC236}">
                <a16:creationId xmlns:a16="http://schemas.microsoft.com/office/drawing/2014/main" id="{791E9EC9-E368-43BA-A015-90530F69BF43}"/>
              </a:ext>
            </a:extLst>
          </p:cNvPr>
          <p:cNvSpPr>
            <a:spLocks noGrp="1"/>
          </p:cNvSpPr>
          <p:nvPr>
            <p:ph type="body" sz="quarter" idx="10"/>
          </p:nvPr>
        </p:nvSpPr>
        <p:spPr/>
        <p:txBody>
          <a:bodyPr lIns="91440" tIns="45720" rIns="91440" bIns="45720" anchor="ctr"/>
          <a:lstStyle/>
          <a:p>
            <a:r>
              <a:rPr lang="en-ID"/>
              <a:t>VIZIO Industry Experience</a:t>
            </a:r>
            <a:endParaRPr lang="en-US"/>
          </a:p>
        </p:txBody>
      </p:sp>
      <p:pic>
        <p:nvPicPr>
          <p:cNvPr id="64" name="Graphic 63" descr="Robot Hand with solid fill">
            <a:extLst>
              <a:ext uri="{FF2B5EF4-FFF2-40B4-BE49-F238E27FC236}">
                <a16:creationId xmlns:a16="http://schemas.microsoft.com/office/drawing/2014/main" id="{7A7A6D22-B43D-452A-993E-AAA093F23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10601" y="2661161"/>
            <a:ext cx="758834" cy="758834"/>
          </a:xfrm>
          <a:prstGeom prst="rect">
            <a:avLst/>
          </a:prstGeom>
        </p:spPr>
      </p:pic>
      <p:pic>
        <p:nvPicPr>
          <p:cNvPr id="6" name="Picture 6" descr="Icon&#10;&#10;Description automatically generated">
            <a:extLst>
              <a:ext uri="{FF2B5EF4-FFF2-40B4-BE49-F238E27FC236}">
                <a16:creationId xmlns:a16="http://schemas.microsoft.com/office/drawing/2014/main" id="{00D623CC-FDA3-0F9D-5F75-64422DC26066}"/>
              </a:ext>
            </a:extLst>
          </p:cNvPr>
          <p:cNvPicPr>
            <a:picLocks noChangeAspect="1"/>
          </p:cNvPicPr>
          <p:nvPr/>
        </p:nvPicPr>
        <p:blipFill>
          <a:blip r:embed="rId11"/>
          <a:stretch>
            <a:fillRect/>
          </a:stretch>
        </p:blipFill>
        <p:spPr>
          <a:xfrm>
            <a:off x="5307914" y="2728624"/>
            <a:ext cx="855363" cy="875957"/>
          </a:xfrm>
          <a:prstGeom prst="rect">
            <a:avLst/>
          </a:prstGeom>
        </p:spPr>
      </p:pic>
      <p:pic>
        <p:nvPicPr>
          <p:cNvPr id="10" name="Picture 10" descr="A picture containing icon&#10;&#10;Description automatically generated">
            <a:extLst>
              <a:ext uri="{FF2B5EF4-FFF2-40B4-BE49-F238E27FC236}">
                <a16:creationId xmlns:a16="http://schemas.microsoft.com/office/drawing/2014/main" id="{2DBE33BA-F346-B610-BA19-D2F3055C5747}"/>
              </a:ext>
            </a:extLst>
          </p:cNvPr>
          <p:cNvPicPr>
            <a:picLocks noChangeAspect="1"/>
          </p:cNvPicPr>
          <p:nvPr/>
        </p:nvPicPr>
        <p:blipFill>
          <a:blip r:embed="rId12"/>
          <a:stretch>
            <a:fillRect/>
          </a:stretch>
        </p:blipFill>
        <p:spPr>
          <a:xfrm>
            <a:off x="8324340" y="2842675"/>
            <a:ext cx="963216" cy="657281"/>
          </a:xfrm>
          <a:prstGeom prst="rect">
            <a:avLst/>
          </a:prstGeom>
        </p:spPr>
      </p:pic>
      <p:pic>
        <p:nvPicPr>
          <p:cNvPr id="11" name="Picture 11" descr="Logo&#10;&#10;Description automatically generated">
            <a:extLst>
              <a:ext uri="{FF2B5EF4-FFF2-40B4-BE49-F238E27FC236}">
                <a16:creationId xmlns:a16="http://schemas.microsoft.com/office/drawing/2014/main" id="{71062423-3703-0CD1-7992-BB5B9F9A567F}"/>
              </a:ext>
            </a:extLst>
          </p:cNvPr>
          <p:cNvPicPr>
            <a:picLocks noChangeAspect="1"/>
          </p:cNvPicPr>
          <p:nvPr/>
        </p:nvPicPr>
        <p:blipFill>
          <a:blip r:embed="rId13"/>
          <a:stretch>
            <a:fillRect/>
          </a:stretch>
        </p:blipFill>
        <p:spPr>
          <a:xfrm>
            <a:off x="2325290" y="2716496"/>
            <a:ext cx="802482" cy="820342"/>
          </a:xfrm>
          <a:prstGeom prst="rect">
            <a:avLst/>
          </a:prstGeom>
        </p:spPr>
      </p:pic>
    </p:spTree>
    <p:extLst>
      <p:ext uri="{BB962C8B-B14F-4D97-AF65-F5344CB8AC3E}">
        <p14:creationId xmlns:p14="http://schemas.microsoft.com/office/powerpoint/2010/main" val="2908122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387350" y="569820"/>
            <a:ext cx="11353800" cy="646331"/>
          </a:xfrm>
        </p:spPr>
        <p:txBody>
          <a:bodyPr lIns="91440" tIns="45720" rIns="91440" bIns="45720" anchor="ctr"/>
          <a:lstStyle/>
          <a:p>
            <a:pPr algn="ctr"/>
            <a:r>
              <a:rPr lang="de-DE">
                <a:solidFill>
                  <a:schemeClr val="bg2"/>
                </a:solidFill>
              </a:rPr>
              <a:t>  VIZIO‘s Accelerators </a:t>
            </a:r>
          </a:p>
          <a:p>
            <a:pPr algn="ctr"/>
            <a:r>
              <a:rPr lang="de-DE" sz="2400">
                <a:solidFill>
                  <a:srgbClr val="FFC000"/>
                </a:solidFill>
              </a:rPr>
              <a:t>Key FP&amp;A Features for</a:t>
            </a:r>
            <a:r>
              <a:rPr lang="en-US" sz="2400">
                <a:solidFill>
                  <a:srgbClr val="FFC000"/>
                </a:solidFill>
              </a:rPr>
              <a:t> </a:t>
            </a:r>
            <a:r>
              <a:rPr lang="de-DE" sz="2400">
                <a:solidFill>
                  <a:srgbClr val="FFC000"/>
                </a:solidFill>
              </a:rPr>
              <a:t>Municipalities</a:t>
            </a:r>
            <a:endParaRPr lang="en-US" sz="2400">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2" name="Diagram 1">
            <a:extLst>
              <a:ext uri="{FF2B5EF4-FFF2-40B4-BE49-F238E27FC236}">
                <a16:creationId xmlns:a16="http://schemas.microsoft.com/office/drawing/2014/main" id="{5638154F-13A1-0FBC-3C30-249E74C453B5}"/>
              </a:ext>
            </a:extLst>
          </p:cNvPr>
          <p:cNvGraphicFramePr/>
          <p:nvPr>
            <p:extLst>
              <p:ext uri="{D42A27DB-BD31-4B8C-83A1-F6EECF244321}">
                <p14:modId xmlns:p14="http://schemas.microsoft.com/office/powerpoint/2010/main" val="2215174545"/>
              </p:ext>
            </p:extLst>
          </p:nvPr>
        </p:nvGraphicFramePr>
        <p:xfrm>
          <a:off x="1412420" y="2167931"/>
          <a:ext cx="9026979" cy="4461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4" name="Picture 3" descr="Icon&#10;&#10;Description automatically generated">
            <a:extLst>
              <a:ext uri="{FF2B5EF4-FFF2-40B4-BE49-F238E27FC236}">
                <a16:creationId xmlns:a16="http://schemas.microsoft.com/office/drawing/2014/main" id="{C98C4754-7B6F-B9F5-8FCA-447AB293886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65565" y="2466107"/>
            <a:ext cx="519544" cy="519544"/>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DD4120DE-0496-F0EF-FC76-88B92D4BEA4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38775" y="4113031"/>
            <a:ext cx="621914" cy="621914"/>
          </a:xfrm>
          <a:prstGeom prst="rect">
            <a:avLst/>
          </a:prstGeom>
        </p:spPr>
      </p:pic>
      <p:pic>
        <p:nvPicPr>
          <p:cNvPr id="8" name="Picture 7" descr="A picture containing text, light&#10;&#10;Description automatically generated">
            <a:extLst>
              <a:ext uri="{FF2B5EF4-FFF2-40B4-BE49-F238E27FC236}">
                <a16:creationId xmlns:a16="http://schemas.microsoft.com/office/drawing/2014/main" id="{E5DDA04F-0657-1A80-E02A-A859B761C15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10144" y="3247113"/>
            <a:ext cx="611383" cy="611383"/>
          </a:xfrm>
          <a:prstGeom prst="rect">
            <a:avLst/>
          </a:prstGeom>
        </p:spPr>
      </p:pic>
      <p:pic>
        <p:nvPicPr>
          <p:cNvPr id="10" name="Picture 9" descr="Icon&#10;&#10;Description automatically generated">
            <a:extLst>
              <a:ext uri="{FF2B5EF4-FFF2-40B4-BE49-F238E27FC236}">
                <a16:creationId xmlns:a16="http://schemas.microsoft.com/office/drawing/2014/main" id="{3EE9038E-1842-7CDB-12B0-364F8DB488E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34126" y="5776729"/>
            <a:ext cx="561726" cy="561726"/>
          </a:xfrm>
          <a:prstGeom prst="rect">
            <a:avLst/>
          </a:prstGeom>
        </p:spPr>
      </p:pic>
      <p:pic>
        <p:nvPicPr>
          <p:cNvPr id="12" name="Picture 11" descr="Text&#10;&#10;Description automatically generated">
            <a:extLst>
              <a:ext uri="{FF2B5EF4-FFF2-40B4-BE49-F238E27FC236}">
                <a16:creationId xmlns:a16="http://schemas.microsoft.com/office/drawing/2014/main" id="{FA8F69C9-D4A8-439F-FD7D-3C26CC84526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32093" y="4980972"/>
            <a:ext cx="561726" cy="561726"/>
          </a:xfrm>
          <a:prstGeom prst="rect">
            <a:avLst/>
          </a:prstGeom>
        </p:spPr>
      </p:pic>
    </p:spTree>
    <p:extLst>
      <p:ext uri="{BB962C8B-B14F-4D97-AF65-F5344CB8AC3E}">
        <p14:creationId xmlns:p14="http://schemas.microsoft.com/office/powerpoint/2010/main" val="2183395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p:txBody>
          <a:bodyPr lIns="91440" tIns="45720" rIns="91440" bIns="45720" anchor="ctr"/>
          <a:lstStyle/>
          <a:p>
            <a:pPr algn="ctr"/>
            <a:r>
              <a:rPr lang="de-DE">
                <a:solidFill>
                  <a:schemeClr val="bg2"/>
                </a:solidFill>
              </a:rPr>
              <a:t>Presentation Disclaimer</a:t>
            </a:r>
            <a:endParaRPr lang="en-US"/>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sp>
        <p:nvSpPr>
          <p:cNvPr id="2" name="TextBox 1">
            <a:extLst>
              <a:ext uri="{FF2B5EF4-FFF2-40B4-BE49-F238E27FC236}">
                <a16:creationId xmlns:a16="http://schemas.microsoft.com/office/drawing/2014/main" id="{A227BD4E-587B-B654-3D1C-8ACAB901D10D}"/>
              </a:ext>
            </a:extLst>
          </p:cNvPr>
          <p:cNvSpPr txBox="1"/>
          <p:nvPr/>
        </p:nvSpPr>
        <p:spPr>
          <a:xfrm>
            <a:off x="984183" y="2405174"/>
            <a:ext cx="10230677"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defRPr/>
            </a:pPr>
            <a:r>
              <a:rPr kumimoji="0" lang="en-US" b="1" i="0" u="none" strike="noStrike" kern="1200" cap="none" spc="0" normalizeH="0" baseline="0" noProof="0" dirty="0">
                <a:ln>
                  <a:noFill/>
                </a:ln>
                <a:solidFill>
                  <a:srgbClr val="2B2B2B"/>
                </a:solidFill>
                <a:effectLst/>
                <a:uLnTx/>
                <a:uFillTx/>
                <a:latin typeface="Montserrat"/>
                <a:ea typeface="+mn-ea"/>
                <a:cs typeface="+mn-cs"/>
              </a:rPr>
              <a:t>SAP Analytics Cloud </a:t>
            </a:r>
            <a:r>
              <a:rPr lang="en-US" b="1" dirty="0">
                <a:solidFill>
                  <a:srgbClr val="2B2B2B"/>
                </a:solidFill>
                <a:latin typeface="Montserrat"/>
              </a:rPr>
              <a:t>platform is</a:t>
            </a:r>
            <a:r>
              <a:rPr kumimoji="0" lang="en-US" b="1" i="0" u="none" strike="noStrike" kern="1200" cap="none" spc="0" normalizeH="0" baseline="0" noProof="0" dirty="0">
                <a:ln>
                  <a:noFill/>
                </a:ln>
                <a:solidFill>
                  <a:srgbClr val="2B2B2B"/>
                </a:solidFill>
                <a:effectLst/>
                <a:uLnTx/>
                <a:uFillTx/>
                <a:latin typeface="Montserrat"/>
                <a:ea typeface="+mn-ea"/>
                <a:cs typeface="+mn-cs"/>
              </a:rPr>
              <a:t> the sole registered property of </a:t>
            </a:r>
            <a:r>
              <a:rPr lang="en-US" b="1" dirty="0">
                <a:solidFill>
                  <a:srgbClr val="2B2B2B"/>
                </a:solidFill>
                <a:latin typeface="Montserrat"/>
              </a:rPr>
              <a:t>SAP.</a:t>
            </a:r>
            <a:endParaRPr lang="en-US" b="1" i="1" dirty="0">
              <a:solidFill>
                <a:srgbClr val="4F52B2"/>
              </a:solidFill>
              <a:latin typeface="-apple-system"/>
            </a:endParaRPr>
          </a:p>
          <a:p>
            <a:pPr marL="285750" indent="-285750">
              <a:buFont typeface="Arial"/>
              <a:buChar char="•"/>
              <a:defRPr/>
            </a:pPr>
            <a:endParaRPr lang="en-US" b="1" dirty="0">
              <a:solidFill>
                <a:srgbClr val="2B2B2B"/>
              </a:solidFill>
              <a:latin typeface="Montserrat"/>
            </a:endParaRPr>
          </a:p>
          <a:p>
            <a:pPr marL="285750" indent="-285750">
              <a:buFont typeface="Arial"/>
              <a:buChar char="•"/>
              <a:defRPr/>
            </a:pPr>
            <a:endParaRPr lang="en-US" b="1" dirty="0">
              <a:solidFill>
                <a:srgbClr val="2B2B2B"/>
              </a:solidFill>
              <a:latin typeface="Montserrat"/>
            </a:endParaRPr>
          </a:p>
          <a:p>
            <a:pPr marL="285750" indent="-285750">
              <a:buFont typeface="Arial"/>
              <a:buChar char="•"/>
              <a:defRPr/>
            </a:pPr>
            <a:r>
              <a:rPr lang="en-US" b="1" dirty="0">
                <a:solidFill>
                  <a:srgbClr val="2B2B2B"/>
                </a:solidFill>
                <a:latin typeface="Montserrat"/>
              </a:rPr>
              <a:t>VIZIO offers implementation services on SAC.</a:t>
            </a:r>
            <a:endParaRPr lang="en-US" b="1" i="0" u="none" strike="noStrike" kern="1200" cap="none" spc="0" normalizeH="0" baseline="0" noProof="0" dirty="0">
              <a:ln>
                <a:noFill/>
              </a:ln>
              <a:solidFill>
                <a:srgbClr val="2B2B2B"/>
              </a:solidFill>
              <a:effectLst/>
              <a:uLnTx/>
              <a:uFillTx/>
              <a:latin typeface="Montserrat"/>
            </a:endParaRPr>
          </a:p>
          <a:p>
            <a:pPr>
              <a:buFont typeface="Arial"/>
              <a:buChar char="•"/>
              <a:defRPr/>
            </a:pPr>
            <a:endParaRPr lang="en-US" sz="1400" dirty="0">
              <a:solidFill>
                <a:srgbClr val="2B2B2B"/>
              </a:solidFill>
              <a:latin typeface="Montserrat"/>
            </a:endParaRPr>
          </a:p>
          <a:p>
            <a:pPr>
              <a:buFont typeface="Arial"/>
              <a:buChar char="•"/>
              <a:defRPr/>
            </a:pPr>
            <a:endParaRPr lang="en-US" sz="1400" dirty="0">
              <a:solidFill>
                <a:srgbClr val="2B2B2B"/>
              </a:solidFill>
              <a:latin typeface="Montserrat"/>
            </a:endParaRPr>
          </a:p>
        </p:txBody>
      </p:sp>
    </p:spTree>
    <p:extLst>
      <p:ext uri="{BB962C8B-B14F-4D97-AF65-F5344CB8AC3E}">
        <p14:creationId xmlns:p14="http://schemas.microsoft.com/office/powerpoint/2010/main" val="2570646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dirty="0">
              <a:ea typeface="+mn-lt"/>
              <a:cs typeface="+mn-lt"/>
            </a:endParaRPr>
          </a:p>
          <a:p>
            <a:pPr algn="ctr"/>
            <a:r>
              <a:rPr lang="de-DE" sz="3600" b="1" dirty="0"/>
              <a:t>Section 1: Introduction to VIZIO</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97441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0752A830-265B-4AEF-BB02-D6FD34A33079}"/>
              </a:ext>
            </a:extLst>
          </p:cNvPr>
          <p:cNvGrpSpPr>
            <a:grpSpLocks noChangeAspect="1"/>
          </p:cNvGrpSpPr>
          <p:nvPr/>
        </p:nvGrpSpPr>
        <p:grpSpPr bwMode="auto">
          <a:xfrm flipH="1">
            <a:off x="6712598" y="1076862"/>
            <a:ext cx="5479402" cy="5799440"/>
            <a:chOff x="2212" y="425"/>
            <a:chExt cx="3253" cy="3443"/>
          </a:xfrm>
          <a:solidFill>
            <a:schemeClr val="accent1"/>
          </a:solidFill>
        </p:grpSpPr>
        <p:sp>
          <p:nvSpPr>
            <p:cNvPr id="3" name="Freeform 5">
              <a:extLst>
                <a:ext uri="{FF2B5EF4-FFF2-40B4-BE49-F238E27FC236}">
                  <a16:creationId xmlns:a16="http://schemas.microsoft.com/office/drawing/2014/main" id="{0DA43D1A-5425-4202-A27B-5CCF8A86CA0D}"/>
                </a:ext>
              </a:extLst>
            </p:cNvPr>
            <p:cNvSpPr>
              <a:spLocks/>
            </p:cNvSpPr>
            <p:nvPr/>
          </p:nvSpPr>
          <p:spPr bwMode="auto">
            <a:xfrm>
              <a:off x="2212" y="1171"/>
              <a:ext cx="2978" cy="2697"/>
            </a:xfrm>
            <a:custGeom>
              <a:avLst/>
              <a:gdLst>
                <a:gd name="T0" fmla="*/ 0 w 1114"/>
                <a:gd name="T1" fmla="*/ 11 h 1009"/>
                <a:gd name="T2" fmla="*/ 30 w 1114"/>
                <a:gd name="T3" fmla="*/ 24 h 1009"/>
                <a:gd name="T4" fmla="*/ 46 w 1114"/>
                <a:gd name="T5" fmla="*/ 24 h 1009"/>
                <a:gd name="T6" fmla="*/ 105 w 1114"/>
                <a:gd name="T7" fmla="*/ 23 h 1009"/>
                <a:gd name="T8" fmla="*/ 118 w 1114"/>
                <a:gd name="T9" fmla="*/ 26 h 1009"/>
                <a:gd name="T10" fmla="*/ 177 w 1114"/>
                <a:gd name="T11" fmla="*/ 30 h 1009"/>
                <a:gd name="T12" fmla="*/ 192 w 1114"/>
                <a:gd name="T13" fmla="*/ 33 h 1009"/>
                <a:gd name="T14" fmla="*/ 249 w 1114"/>
                <a:gd name="T15" fmla="*/ 41 h 1009"/>
                <a:gd name="T16" fmla="*/ 261 w 1114"/>
                <a:gd name="T17" fmla="*/ 44 h 1009"/>
                <a:gd name="T18" fmla="*/ 320 w 1114"/>
                <a:gd name="T19" fmla="*/ 56 h 1009"/>
                <a:gd name="T20" fmla="*/ 333 w 1114"/>
                <a:gd name="T21" fmla="*/ 62 h 1009"/>
                <a:gd name="T22" fmla="*/ 386 w 1114"/>
                <a:gd name="T23" fmla="*/ 77 h 1009"/>
                <a:gd name="T24" fmla="*/ 400 w 1114"/>
                <a:gd name="T25" fmla="*/ 82 h 1009"/>
                <a:gd name="T26" fmla="*/ 454 w 1114"/>
                <a:gd name="T27" fmla="*/ 102 h 1009"/>
                <a:gd name="T28" fmla="*/ 471 w 1114"/>
                <a:gd name="T29" fmla="*/ 110 h 1009"/>
                <a:gd name="T30" fmla="*/ 523 w 1114"/>
                <a:gd name="T31" fmla="*/ 133 h 1009"/>
                <a:gd name="T32" fmla="*/ 535 w 1114"/>
                <a:gd name="T33" fmla="*/ 141 h 1009"/>
                <a:gd name="T34" fmla="*/ 586 w 1114"/>
                <a:gd name="T35" fmla="*/ 168 h 1009"/>
                <a:gd name="T36" fmla="*/ 598 w 1114"/>
                <a:gd name="T37" fmla="*/ 176 h 1009"/>
                <a:gd name="T38" fmla="*/ 645 w 1114"/>
                <a:gd name="T39" fmla="*/ 206 h 1009"/>
                <a:gd name="T40" fmla="*/ 661 w 1114"/>
                <a:gd name="T41" fmla="*/ 215 h 1009"/>
                <a:gd name="T42" fmla="*/ 707 w 1114"/>
                <a:gd name="T43" fmla="*/ 251 h 1009"/>
                <a:gd name="T44" fmla="*/ 717 w 1114"/>
                <a:gd name="T45" fmla="*/ 260 h 1009"/>
                <a:gd name="T46" fmla="*/ 773 w 1114"/>
                <a:gd name="T47" fmla="*/ 305 h 1009"/>
                <a:gd name="T48" fmla="*/ 813 w 1114"/>
                <a:gd name="T49" fmla="*/ 348 h 1009"/>
                <a:gd name="T50" fmla="*/ 824 w 1114"/>
                <a:gd name="T51" fmla="*/ 358 h 1009"/>
                <a:gd name="T52" fmla="*/ 862 w 1114"/>
                <a:gd name="T53" fmla="*/ 404 h 1009"/>
                <a:gd name="T54" fmla="*/ 870 w 1114"/>
                <a:gd name="T55" fmla="*/ 412 h 1009"/>
                <a:gd name="T56" fmla="*/ 906 w 1114"/>
                <a:gd name="T57" fmla="*/ 461 h 1009"/>
                <a:gd name="T58" fmla="*/ 914 w 1114"/>
                <a:gd name="T59" fmla="*/ 469 h 1009"/>
                <a:gd name="T60" fmla="*/ 945 w 1114"/>
                <a:gd name="T61" fmla="*/ 519 h 1009"/>
                <a:gd name="T62" fmla="*/ 954 w 1114"/>
                <a:gd name="T63" fmla="*/ 532 h 1009"/>
                <a:gd name="T64" fmla="*/ 981 w 1114"/>
                <a:gd name="T65" fmla="*/ 583 h 1009"/>
                <a:gd name="T66" fmla="*/ 990 w 1114"/>
                <a:gd name="T67" fmla="*/ 596 h 1009"/>
                <a:gd name="T68" fmla="*/ 1014 w 1114"/>
                <a:gd name="T69" fmla="*/ 650 h 1009"/>
                <a:gd name="T70" fmla="*/ 1021 w 1114"/>
                <a:gd name="T71" fmla="*/ 661 h 1009"/>
                <a:gd name="T72" fmla="*/ 1040 w 1114"/>
                <a:gd name="T73" fmla="*/ 716 h 1009"/>
                <a:gd name="T74" fmla="*/ 1043 w 1114"/>
                <a:gd name="T75" fmla="*/ 726 h 1009"/>
                <a:gd name="T76" fmla="*/ 1065 w 1114"/>
                <a:gd name="T77" fmla="*/ 785 h 1009"/>
                <a:gd name="T78" fmla="*/ 1066 w 1114"/>
                <a:gd name="T79" fmla="*/ 801 h 1009"/>
                <a:gd name="T80" fmla="*/ 1081 w 1114"/>
                <a:gd name="T81" fmla="*/ 854 h 1009"/>
                <a:gd name="T82" fmla="*/ 1082 w 1114"/>
                <a:gd name="T83" fmla="*/ 869 h 1009"/>
                <a:gd name="T84" fmla="*/ 1093 w 1114"/>
                <a:gd name="T85" fmla="*/ 929 h 1009"/>
                <a:gd name="T86" fmla="*/ 1100 w 1114"/>
                <a:gd name="T87" fmla="*/ 1003 h 1009"/>
                <a:gd name="T88" fmla="*/ 1114 w 1114"/>
                <a:gd name="T89" fmla="*/ 1009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4" h="1009">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 name="Freeform 6">
              <a:extLst>
                <a:ext uri="{FF2B5EF4-FFF2-40B4-BE49-F238E27FC236}">
                  <a16:creationId xmlns:a16="http://schemas.microsoft.com/office/drawing/2014/main" id="{C5D24F8B-784D-4DC4-B10C-797E3E90BD47}"/>
                </a:ext>
              </a:extLst>
            </p:cNvPr>
            <p:cNvSpPr>
              <a:spLocks/>
            </p:cNvSpPr>
            <p:nvPr/>
          </p:nvSpPr>
          <p:spPr bwMode="auto">
            <a:xfrm>
              <a:off x="2958" y="981"/>
              <a:ext cx="2507" cy="2887"/>
            </a:xfrm>
            <a:custGeom>
              <a:avLst/>
              <a:gdLst>
                <a:gd name="T0" fmla="*/ 386 w 938"/>
                <a:gd name="T1" fmla="*/ 167 h 1080"/>
                <a:gd name="T2" fmla="*/ 698 w 938"/>
                <a:gd name="T3" fmla="*/ 453 h 1080"/>
                <a:gd name="T4" fmla="*/ 704 w 938"/>
                <a:gd name="T5" fmla="*/ 449 h 1080"/>
                <a:gd name="T6" fmla="*/ 918 w 938"/>
                <a:gd name="T7" fmla="*/ 934 h 1080"/>
                <a:gd name="T8" fmla="*/ 934 w 938"/>
                <a:gd name="T9" fmla="*/ 1080 h 1080"/>
                <a:gd name="T10" fmla="*/ 938 w 938"/>
                <a:gd name="T11" fmla="*/ 1080 h 1080"/>
                <a:gd name="T12" fmla="*/ 393 w 938"/>
                <a:gd name="T13" fmla="*/ 155 h 1080"/>
                <a:gd name="T14" fmla="*/ 3 w 938"/>
                <a:gd name="T15" fmla="*/ 0 h 1080"/>
                <a:gd name="T16" fmla="*/ 0 w 938"/>
                <a:gd name="T17" fmla="*/ 14 h 1080"/>
                <a:gd name="T18" fmla="*/ 386 w 938"/>
                <a:gd name="T19" fmla="*/ 167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108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 name="Freeform 7">
              <a:extLst>
                <a:ext uri="{FF2B5EF4-FFF2-40B4-BE49-F238E27FC236}">
                  <a16:creationId xmlns:a16="http://schemas.microsoft.com/office/drawing/2014/main" id="{CC645D63-8F96-48AE-AED2-7F68838DB2B5}"/>
                </a:ext>
              </a:extLst>
            </p:cNvPr>
            <p:cNvSpPr>
              <a:spLocks/>
            </p:cNvSpPr>
            <p:nvPr/>
          </p:nvSpPr>
          <p:spPr bwMode="auto">
            <a:xfrm>
              <a:off x="2212" y="1754"/>
              <a:ext cx="1345" cy="398"/>
            </a:xfrm>
            <a:custGeom>
              <a:avLst/>
              <a:gdLst>
                <a:gd name="T0" fmla="*/ 495 w 503"/>
                <a:gd name="T1" fmla="*/ 149 h 149"/>
                <a:gd name="T2" fmla="*/ 503 w 503"/>
                <a:gd name="T3" fmla="*/ 137 h 149"/>
                <a:gd name="T4" fmla="*/ 0 w 503"/>
                <a:gd name="T5" fmla="*/ 11 h 149"/>
                <a:gd name="T6" fmla="*/ 0 w 503"/>
                <a:gd name="T7" fmla="*/ 25 h 149"/>
                <a:gd name="T8" fmla="*/ 495 w 503"/>
                <a:gd name="T9" fmla="*/ 149 h 149"/>
              </a:gdLst>
              <a:ahLst/>
              <a:cxnLst>
                <a:cxn ang="0">
                  <a:pos x="T0" y="T1"/>
                </a:cxn>
                <a:cxn ang="0">
                  <a:pos x="T2" y="T3"/>
                </a:cxn>
                <a:cxn ang="0">
                  <a:pos x="T4" y="T5"/>
                </a:cxn>
                <a:cxn ang="0">
                  <a:pos x="T6" y="T7"/>
                </a:cxn>
                <a:cxn ang="0">
                  <a:pos x="T8" y="T9"/>
                </a:cxn>
              </a:cxnLst>
              <a:rect l="0" t="0" r="r" b="b"/>
              <a:pathLst>
                <a:path w="503" h="149">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 name="Freeform 8">
              <a:extLst>
                <a:ext uri="{FF2B5EF4-FFF2-40B4-BE49-F238E27FC236}">
                  <a16:creationId xmlns:a16="http://schemas.microsoft.com/office/drawing/2014/main" id="{586282A2-6B80-4BA9-B3AA-4FC9784144E5}"/>
                </a:ext>
              </a:extLst>
            </p:cNvPr>
            <p:cNvSpPr>
              <a:spLocks/>
            </p:cNvSpPr>
            <p:nvPr/>
          </p:nvSpPr>
          <p:spPr bwMode="auto">
            <a:xfrm>
              <a:off x="3466" y="2072"/>
              <a:ext cx="1208" cy="1796"/>
            </a:xfrm>
            <a:custGeom>
              <a:avLst/>
              <a:gdLst>
                <a:gd name="T0" fmla="*/ 45 w 452"/>
                <a:gd name="T1" fmla="*/ 0 h 672"/>
                <a:gd name="T2" fmla="*/ 34 w 452"/>
                <a:gd name="T3" fmla="*/ 18 h 672"/>
                <a:gd name="T4" fmla="*/ 26 w 452"/>
                <a:gd name="T5" fmla="*/ 30 h 672"/>
                <a:gd name="T6" fmla="*/ 0 w 452"/>
                <a:gd name="T7" fmla="*/ 72 h 672"/>
                <a:gd name="T8" fmla="*/ 366 w 452"/>
                <a:gd name="T9" fmla="*/ 672 h 672"/>
                <a:gd name="T10" fmla="*/ 452 w 452"/>
                <a:gd name="T11" fmla="*/ 672 h 672"/>
                <a:gd name="T12" fmla="*/ 45 w 452"/>
                <a:gd name="T13" fmla="*/ 0 h 672"/>
              </a:gdLst>
              <a:ahLst/>
              <a:cxnLst>
                <a:cxn ang="0">
                  <a:pos x="T0" y="T1"/>
                </a:cxn>
                <a:cxn ang="0">
                  <a:pos x="T2" y="T3"/>
                </a:cxn>
                <a:cxn ang="0">
                  <a:pos x="T4" y="T5"/>
                </a:cxn>
                <a:cxn ang="0">
                  <a:pos x="T6" y="T7"/>
                </a:cxn>
                <a:cxn ang="0">
                  <a:pos x="T8" y="T9"/>
                </a:cxn>
                <a:cxn ang="0">
                  <a:pos x="T10" y="T11"/>
                </a:cxn>
                <a:cxn ang="0">
                  <a:pos x="T12" y="T13"/>
                </a:cxn>
              </a:cxnLst>
              <a:rect l="0" t="0" r="r" b="b"/>
              <a:pathLst>
                <a:path w="452" h="672">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7" name="Freeform 9">
              <a:extLst>
                <a:ext uri="{FF2B5EF4-FFF2-40B4-BE49-F238E27FC236}">
                  <a16:creationId xmlns:a16="http://schemas.microsoft.com/office/drawing/2014/main" id="{246A8117-8253-45CE-B676-08EBB13A8C21}"/>
                </a:ext>
              </a:extLst>
            </p:cNvPr>
            <p:cNvSpPr>
              <a:spLocks/>
            </p:cNvSpPr>
            <p:nvPr/>
          </p:nvSpPr>
          <p:spPr bwMode="auto">
            <a:xfrm>
              <a:off x="3030" y="1321"/>
              <a:ext cx="75" cy="120"/>
            </a:xfrm>
            <a:custGeom>
              <a:avLst/>
              <a:gdLst>
                <a:gd name="T0" fmla="*/ 16 w 28"/>
                <a:gd name="T1" fmla="*/ 44 h 45"/>
                <a:gd name="T2" fmla="*/ 27 w 28"/>
                <a:gd name="T3" fmla="*/ 6 h 45"/>
                <a:gd name="T4" fmla="*/ 28 w 28"/>
                <a:gd name="T5" fmla="*/ 5 h 45"/>
                <a:gd name="T6" fmla="*/ 14 w 28"/>
                <a:gd name="T7" fmla="*/ 0 h 45"/>
                <a:gd name="T8" fmla="*/ 13 w 28"/>
                <a:gd name="T9" fmla="*/ 2 h 45"/>
                <a:gd name="T10" fmla="*/ 0 w 28"/>
                <a:gd name="T11" fmla="*/ 42 h 45"/>
                <a:gd name="T12" fmla="*/ 16 w 28"/>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28" h="45">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8" name="Freeform 10">
              <a:extLst>
                <a:ext uri="{FF2B5EF4-FFF2-40B4-BE49-F238E27FC236}">
                  <a16:creationId xmlns:a16="http://schemas.microsoft.com/office/drawing/2014/main" id="{C770D0B9-CEC9-4BE5-815E-C1636F8F66AD}"/>
                </a:ext>
              </a:extLst>
            </p:cNvPr>
            <p:cNvSpPr>
              <a:spLocks/>
            </p:cNvSpPr>
            <p:nvPr/>
          </p:nvSpPr>
          <p:spPr bwMode="auto">
            <a:xfrm>
              <a:off x="2669" y="1249"/>
              <a:ext cx="56" cy="120"/>
            </a:xfrm>
            <a:custGeom>
              <a:avLst/>
              <a:gdLst>
                <a:gd name="T0" fmla="*/ 16 w 21"/>
                <a:gd name="T1" fmla="*/ 45 h 45"/>
                <a:gd name="T2" fmla="*/ 21 w 21"/>
                <a:gd name="T3" fmla="*/ 4 h 45"/>
                <a:gd name="T4" fmla="*/ 21 w 21"/>
                <a:gd name="T5" fmla="*/ 2 h 45"/>
                <a:gd name="T6" fmla="*/ 6 w 21"/>
                <a:gd name="T7" fmla="*/ 1 h 45"/>
                <a:gd name="T8" fmla="*/ 5 w 21"/>
                <a:gd name="T9" fmla="*/ 2 h 45"/>
                <a:gd name="T10" fmla="*/ 0 w 21"/>
                <a:gd name="T11" fmla="*/ 44 h 45"/>
                <a:gd name="T12" fmla="*/ 16 w 2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21" h="45">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9" name="Freeform 11">
              <a:extLst>
                <a:ext uri="{FF2B5EF4-FFF2-40B4-BE49-F238E27FC236}">
                  <a16:creationId xmlns:a16="http://schemas.microsoft.com/office/drawing/2014/main" id="{19463965-2F45-4124-A3A8-051836ACCFCD}"/>
                </a:ext>
              </a:extLst>
            </p:cNvPr>
            <p:cNvSpPr>
              <a:spLocks/>
            </p:cNvSpPr>
            <p:nvPr/>
          </p:nvSpPr>
          <p:spPr bwMode="auto">
            <a:xfrm>
              <a:off x="2854" y="1278"/>
              <a:ext cx="58" cy="126"/>
            </a:xfrm>
            <a:custGeom>
              <a:avLst/>
              <a:gdLst>
                <a:gd name="T0" fmla="*/ 14 w 22"/>
                <a:gd name="T1" fmla="*/ 47 h 47"/>
                <a:gd name="T2" fmla="*/ 21 w 22"/>
                <a:gd name="T3" fmla="*/ 4 h 47"/>
                <a:gd name="T4" fmla="*/ 22 w 22"/>
                <a:gd name="T5" fmla="*/ 1 h 47"/>
                <a:gd name="T6" fmla="*/ 9 w 22"/>
                <a:gd name="T7" fmla="*/ 1 h 47"/>
                <a:gd name="T8" fmla="*/ 9 w 22"/>
                <a:gd name="T9" fmla="*/ 2 h 47"/>
                <a:gd name="T10" fmla="*/ 0 w 22"/>
                <a:gd name="T11" fmla="*/ 42 h 47"/>
                <a:gd name="T12" fmla="*/ 14 w 2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22" h="47">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0" name="Freeform 12">
              <a:extLst>
                <a:ext uri="{FF2B5EF4-FFF2-40B4-BE49-F238E27FC236}">
                  <a16:creationId xmlns:a16="http://schemas.microsoft.com/office/drawing/2014/main" id="{DAC073C9-90E2-435D-BD83-9A8A89D8C9C7}"/>
                </a:ext>
              </a:extLst>
            </p:cNvPr>
            <p:cNvSpPr>
              <a:spLocks/>
            </p:cNvSpPr>
            <p:nvPr/>
          </p:nvSpPr>
          <p:spPr bwMode="auto">
            <a:xfrm>
              <a:off x="3214" y="1377"/>
              <a:ext cx="67" cy="118"/>
            </a:xfrm>
            <a:custGeom>
              <a:avLst/>
              <a:gdLst>
                <a:gd name="T0" fmla="*/ 14 w 25"/>
                <a:gd name="T1" fmla="*/ 43 h 44"/>
                <a:gd name="T2" fmla="*/ 25 w 25"/>
                <a:gd name="T3" fmla="*/ 5 h 44"/>
                <a:gd name="T4" fmla="*/ 25 w 25"/>
                <a:gd name="T5" fmla="*/ 4 h 44"/>
                <a:gd name="T6" fmla="*/ 11 w 25"/>
                <a:gd name="T7" fmla="*/ 0 h 44"/>
                <a:gd name="T8" fmla="*/ 11 w 25"/>
                <a:gd name="T9" fmla="*/ 1 h 44"/>
                <a:gd name="T10" fmla="*/ 0 w 25"/>
                <a:gd name="T11" fmla="*/ 39 h 44"/>
                <a:gd name="T12" fmla="*/ 14 w 25"/>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5" h="44">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1" name="Freeform 13">
              <a:extLst>
                <a:ext uri="{FF2B5EF4-FFF2-40B4-BE49-F238E27FC236}">
                  <a16:creationId xmlns:a16="http://schemas.microsoft.com/office/drawing/2014/main" id="{5D60D165-3B79-4CDF-9C22-98E06F5F1298}"/>
                </a:ext>
              </a:extLst>
            </p:cNvPr>
            <p:cNvSpPr>
              <a:spLocks/>
            </p:cNvSpPr>
            <p:nvPr/>
          </p:nvSpPr>
          <p:spPr bwMode="auto">
            <a:xfrm>
              <a:off x="3388" y="1444"/>
              <a:ext cx="83" cy="120"/>
            </a:xfrm>
            <a:custGeom>
              <a:avLst/>
              <a:gdLst>
                <a:gd name="T0" fmla="*/ 12 w 31"/>
                <a:gd name="T1" fmla="*/ 45 h 45"/>
                <a:gd name="T2" fmla="*/ 31 w 31"/>
                <a:gd name="T3" fmla="*/ 8 h 45"/>
                <a:gd name="T4" fmla="*/ 31 w 31"/>
                <a:gd name="T5" fmla="*/ 7 h 45"/>
                <a:gd name="T6" fmla="*/ 14 w 31"/>
                <a:gd name="T7" fmla="*/ 0 h 45"/>
                <a:gd name="T8" fmla="*/ 14 w 31"/>
                <a:gd name="T9" fmla="*/ 1 h 45"/>
                <a:gd name="T10" fmla="*/ 0 w 31"/>
                <a:gd name="T11" fmla="*/ 37 h 45"/>
                <a:gd name="T12" fmla="*/ 12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2" name="Freeform 14">
              <a:extLst>
                <a:ext uri="{FF2B5EF4-FFF2-40B4-BE49-F238E27FC236}">
                  <a16:creationId xmlns:a16="http://schemas.microsoft.com/office/drawing/2014/main" id="{64DA8F8E-21EB-4795-875F-B0A826E639DA}"/>
                </a:ext>
              </a:extLst>
            </p:cNvPr>
            <p:cNvSpPr>
              <a:spLocks/>
            </p:cNvSpPr>
            <p:nvPr/>
          </p:nvSpPr>
          <p:spPr bwMode="auto">
            <a:xfrm>
              <a:off x="4540" y="2401"/>
              <a:ext cx="115" cy="90"/>
            </a:xfrm>
            <a:custGeom>
              <a:avLst/>
              <a:gdLst>
                <a:gd name="T0" fmla="*/ 10 w 43"/>
                <a:gd name="T1" fmla="*/ 34 h 34"/>
                <a:gd name="T2" fmla="*/ 42 w 43"/>
                <a:gd name="T3" fmla="*/ 10 h 34"/>
                <a:gd name="T4" fmla="*/ 43 w 43"/>
                <a:gd name="T5" fmla="*/ 9 h 34"/>
                <a:gd name="T6" fmla="*/ 36 w 43"/>
                <a:gd name="T7" fmla="*/ 0 h 34"/>
                <a:gd name="T8" fmla="*/ 35 w 43"/>
                <a:gd name="T9" fmla="*/ 1 h 34"/>
                <a:gd name="T10" fmla="*/ 0 w 43"/>
                <a:gd name="T11" fmla="*/ 24 h 34"/>
                <a:gd name="T12" fmla="*/ 10 w 4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3" h="34">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3" name="Freeform 15">
              <a:extLst>
                <a:ext uri="{FF2B5EF4-FFF2-40B4-BE49-F238E27FC236}">
                  <a16:creationId xmlns:a16="http://schemas.microsoft.com/office/drawing/2014/main" id="{8F191969-7110-4698-A61D-8725E5FA4665}"/>
                </a:ext>
              </a:extLst>
            </p:cNvPr>
            <p:cNvSpPr>
              <a:spLocks/>
            </p:cNvSpPr>
            <p:nvPr/>
          </p:nvSpPr>
          <p:spPr bwMode="auto">
            <a:xfrm>
              <a:off x="4738" y="2727"/>
              <a:ext cx="121" cy="88"/>
            </a:xfrm>
            <a:custGeom>
              <a:avLst/>
              <a:gdLst>
                <a:gd name="T0" fmla="*/ 8 w 45"/>
                <a:gd name="T1" fmla="*/ 33 h 33"/>
                <a:gd name="T2" fmla="*/ 43 w 45"/>
                <a:gd name="T3" fmla="*/ 15 h 33"/>
                <a:gd name="T4" fmla="*/ 45 w 45"/>
                <a:gd name="T5" fmla="*/ 14 h 33"/>
                <a:gd name="T6" fmla="*/ 37 w 45"/>
                <a:gd name="T7" fmla="*/ 0 h 33"/>
                <a:gd name="T8" fmla="*/ 36 w 45"/>
                <a:gd name="T9" fmla="*/ 1 h 33"/>
                <a:gd name="T10" fmla="*/ 0 w 45"/>
                <a:gd name="T11" fmla="*/ 19 h 33"/>
                <a:gd name="T12" fmla="*/ 8 w 4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45" h="33">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4" name="Freeform 16">
              <a:extLst>
                <a:ext uri="{FF2B5EF4-FFF2-40B4-BE49-F238E27FC236}">
                  <a16:creationId xmlns:a16="http://schemas.microsoft.com/office/drawing/2014/main" id="{33BADB67-205A-463D-9969-BD43B03CE6D3}"/>
                </a:ext>
              </a:extLst>
            </p:cNvPr>
            <p:cNvSpPr>
              <a:spLocks/>
            </p:cNvSpPr>
            <p:nvPr/>
          </p:nvSpPr>
          <p:spPr bwMode="auto">
            <a:xfrm>
              <a:off x="4987" y="3454"/>
              <a:ext cx="123" cy="67"/>
            </a:xfrm>
            <a:custGeom>
              <a:avLst/>
              <a:gdLst>
                <a:gd name="T0" fmla="*/ 2 w 46"/>
                <a:gd name="T1" fmla="*/ 25 h 25"/>
                <a:gd name="T2" fmla="*/ 44 w 46"/>
                <a:gd name="T3" fmla="*/ 15 h 25"/>
                <a:gd name="T4" fmla="*/ 46 w 46"/>
                <a:gd name="T5" fmla="*/ 15 h 25"/>
                <a:gd name="T6" fmla="*/ 43 w 46"/>
                <a:gd name="T7" fmla="*/ 0 h 25"/>
                <a:gd name="T8" fmla="*/ 41 w 46"/>
                <a:gd name="T9" fmla="*/ 0 h 25"/>
                <a:gd name="T10" fmla="*/ 2 w 46"/>
                <a:gd name="T11" fmla="*/ 12 h 25"/>
                <a:gd name="T12" fmla="*/ 2 w 4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6" h="25">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5" name="Freeform 17">
              <a:extLst>
                <a:ext uri="{FF2B5EF4-FFF2-40B4-BE49-F238E27FC236}">
                  <a16:creationId xmlns:a16="http://schemas.microsoft.com/office/drawing/2014/main" id="{582F4D87-2019-424B-A04E-38733536B266}"/>
                </a:ext>
              </a:extLst>
            </p:cNvPr>
            <p:cNvSpPr>
              <a:spLocks/>
            </p:cNvSpPr>
            <p:nvPr/>
          </p:nvSpPr>
          <p:spPr bwMode="auto">
            <a:xfrm>
              <a:off x="2487" y="1233"/>
              <a:ext cx="40" cy="120"/>
            </a:xfrm>
            <a:custGeom>
              <a:avLst/>
              <a:gdLst>
                <a:gd name="T0" fmla="*/ 12 w 15"/>
                <a:gd name="T1" fmla="*/ 44 h 45"/>
                <a:gd name="T2" fmla="*/ 15 w 15"/>
                <a:gd name="T3" fmla="*/ 3 h 45"/>
                <a:gd name="T4" fmla="*/ 15 w 15"/>
                <a:gd name="T5" fmla="*/ 0 h 45"/>
                <a:gd name="T6" fmla="*/ 2 w 15"/>
                <a:gd name="T7" fmla="*/ 0 h 45"/>
                <a:gd name="T8" fmla="*/ 2 w 15"/>
                <a:gd name="T9" fmla="*/ 2 h 45"/>
                <a:gd name="T10" fmla="*/ 0 w 15"/>
                <a:gd name="T11" fmla="*/ 45 h 45"/>
                <a:gd name="T12" fmla="*/ 12 w 15"/>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5" h="45">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6" name="Freeform 18">
              <a:extLst>
                <a:ext uri="{FF2B5EF4-FFF2-40B4-BE49-F238E27FC236}">
                  <a16:creationId xmlns:a16="http://schemas.microsoft.com/office/drawing/2014/main" id="{501672B7-0F35-4FAD-9D3C-9E863FD49762}"/>
                </a:ext>
              </a:extLst>
            </p:cNvPr>
            <p:cNvSpPr>
              <a:spLocks/>
            </p:cNvSpPr>
            <p:nvPr/>
          </p:nvSpPr>
          <p:spPr bwMode="auto">
            <a:xfrm>
              <a:off x="5022" y="3654"/>
              <a:ext cx="117" cy="46"/>
            </a:xfrm>
            <a:custGeom>
              <a:avLst/>
              <a:gdLst>
                <a:gd name="T0" fmla="*/ 2 w 44"/>
                <a:gd name="T1" fmla="*/ 17 h 17"/>
                <a:gd name="T2" fmla="*/ 42 w 44"/>
                <a:gd name="T3" fmla="*/ 13 h 17"/>
                <a:gd name="T4" fmla="*/ 43 w 44"/>
                <a:gd name="T5" fmla="*/ 12 h 17"/>
                <a:gd name="T6" fmla="*/ 42 w 44"/>
                <a:gd name="T7" fmla="*/ 0 h 17"/>
                <a:gd name="T8" fmla="*/ 41 w 44"/>
                <a:gd name="T9" fmla="*/ 0 h 17"/>
                <a:gd name="T10" fmla="*/ 1 w 44"/>
                <a:gd name="T11" fmla="*/ 4 h 17"/>
                <a:gd name="T12" fmla="*/ 2 w 4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4" h="17">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7" name="Freeform 19">
              <a:extLst>
                <a:ext uri="{FF2B5EF4-FFF2-40B4-BE49-F238E27FC236}">
                  <a16:creationId xmlns:a16="http://schemas.microsoft.com/office/drawing/2014/main" id="{CBB68F60-C1AE-4CFB-B7A2-81C6109D7407}"/>
                </a:ext>
              </a:extLst>
            </p:cNvPr>
            <p:cNvSpPr>
              <a:spLocks/>
            </p:cNvSpPr>
            <p:nvPr/>
          </p:nvSpPr>
          <p:spPr bwMode="auto">
            <a:xfrm>
              <a:off x="4941" y="3269"/>
              <a:ext cx="126" cy="67"/>
            </a:xfrm>
            <a:custGeom>
              <a:avLst/>
              <a:gdLst>
                <a:gd name="T0" fmla="*/ 3 w 47"/>
                <a:gd name="T1" fmla="*/ 25 h 25"/>
                <a:gd name="T2" fmla="*/ 45 w 47"/>
                <a:gd name="T3" fmla="*/ 16 h 25"/>
                <a:gd name="T4" fmla="*/ 47 w 47"/>
                <a:gd name="T5" fmla="*/ 15 h 25"/>
                <a:gd name="T6" fmla="*/ 44 w 47"/>
                <a:gd name="T7" fmla="*/ 0 h 25"/>
                <a:gd name="T8" fmla="*/ 41 w 47"/>
                <a:gd name="T9" fmla="*/ 1 h 25"/>
                <a:gd name="T10" fmla="*/ 0 w 47"/>
                <a:gd name="T11" fmla="*/ 11 h 25"/>
                <a:gd name="T12" fmla="*/ 3 w 47"/>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7" h="25">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8" name="Freeform 20">
              <a:extLst>
                <a:ext uri="{FF2B5EF4-FFF2-40B4-BE49-F238E27FC236}">
                  <a16:creationId xmlns:a16="http://schemas.microsoft.com/office/drawing/2014/main" id="{42BBA6B3-3CE5-4D0A-93C4-885E7B85383B}"/>
                </a:ext>
              </a:extLst>
            </p:cNvPr>
            <p:cNvSpPr>
              <a:spLocks/>
            </p:cNvSpPr>
            <p:nvPr/>
          </p:nvSpPr>
          <p:spPr bwMode="auto">
            <a:xfrm>
              <a:off x="4818" y="2908"/>
              <a:ext cx="123" cy="75"/>
            </a:xfrm>
            <a:custGeom>
              <a:avLst/>
              <a:gdLst>
                <a:gd name="T0" fmla="*/ 6 w 46"/>
                <a:gd name="T1" fmla="*/ 28 h 28"/>
                <a:gd name="T2" fmla="*/ 44 w 46"/>
                <a:gd name="T3" fmla="*/ 12 h 28"/>
                <a:gd name="T4" fmla="*/ 46 w 46"/>
                <a:gd name="T5" fmla="*/ 11 h 28"/>
                <a:gd name="T6" fmla="*/ 40 w 46"/>
                <a:gd name="T7" fmla="*/ 0 h 28"/>
                <a:gd name="T8" fmla="*/ 39 w 46"/>
                <a:gd name="T9" fmla="*/ 0 h 28"/>
                <a:gd name="T10" fmla="*/ 0 w 46"/>
                <a:gd name="T11" fmla="*/ 17 h 28"/>
                <a:gd name="T12" fmla="*/ 6 w 4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6" h="28">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9" name="Freeform 21">
              <a:extLst>
                <a:ext uri="{FF2B5EF4-FFF2-40B4-BE49-F238E27FC236}">
                  <a16:creationId xmlns:a16="http://schemas.microsoft.com/office/drawing/2014/main" id="{7BF896C8-2A62-4A60-8268-645BAFA9C2FB}"/>
                </a:ext>
              </a:extLst>
            </p:cNvPr>
            <p:cNvSpPr>
              <a:spLocks/>
            </p:cNvSpPr>
            <p:nvPr/>
          </p:nvSpPr>
          <p:spPr bwMode="auto">
            <a:xfrm>
              <a:off x="2292" y="1227"/>
              <a:ext cx="43" cy="121"/>
            </a:xfrm>
            <a:custGeom>
              <a:avLst/>
              <a:gdLst>
                <a:gd name="T0" fmla="*/ 15 w 16"/>
                <a:gd name="T1" fmla="*/ 44 h 45"/>
                <a:gd name="T2" fmla="*/ 16 w 16"/>
                <a:gd name="T3" fmla="*/ 3 h 45"/>
                <a:gd name="T4" fmla="*/ 16 w 16"/>
                <a:gd name="T5" fmla="*/ 3 h 45"/>
                <a:gd name="T6" fmla="*/ 0 w 16"/>
                <a:gd name="T7" fmla="*/ 1 h 45"/>
                <a:gd name="T8" fmla="*/ 0 w 16"/>
                <a:gd name="T9" fmla="*/ 3 h 45"/>
                <a:gd name="T10" fmla="*/ 2 w 16"/>
                <a:gd name="T11" fmla="*/ 45 h 45"/>
                <a:gd name="T12" fmla="*/ 15 w 16"/>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0" name="Freeform 22">
              <a:extLst>
                <a:ext uri="{FF2B5EF4-FFF2-40B4-BE49-F238E27FC236}">
                  <a16:creationId xmlns:a16="http://schemas.microsoft.com/office/drawing/2014/main" id="{E8CE7BD5-DD14-4522-8B82-E6873944C650}"/>
                </a:ext>
              </a:extLst>
            </p:cNvPr>
            <p:cNvSpPr>
              <a:spLocks/>
            </p:cNvSpPr>
            <p:nvPr/>
          </p:nvSpPr>
          <p:spPr bwMode="auto">
            <a:xfrm>
              <a:off x="3559" y="1527"/>
              <a:ext cx="86" cy="123"/>
            </a:xfrm>
            <a:custGeom>
              <a:avLst/>
              <a:gdLst>
                <a:gd name="T0" fmla="*/ 12 w 32"/>
                <a:gd name="T1" fmla="*/ 46 h 46"/>
                <a:gd name="T2" fmla="*/ 31 w 32"/>
                <a:gd name="T3" fmla="*/ 8 h 46"/>
                <a:gd name="T4" fmla="*/ 32 w 32"/>
                <a:gd name="T5" fmla="*/ 7 h 46"/>
                <a:gd name="T6" fmla="*/ 19 w 32"/>
                <a:gd name="T7" fmla="*/ 0 h 46"/>
                <a:gd name="T8" fmla="*/ 19 w 32"/>
                <a:gd name="T9" fmla="*/ 1 h 46"/>
                <a:gd name="T10" fmla="*/ 0 w 32"/>
                <a:gd name="T11" fmla="*/ 38 h 46"/>
                <a:gd name="T12" fmla="*/ 12 w 3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2" h="46">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1" name="Freeform 23">
              <a:extLst>
                <a:ext uri="{FF2B5EF4-FFF2-40B4-BE49-F238E27FC236}">
                  <a16:creationId xmlns:a16="http://schemas.microsoft.com/office/drawing/2014/main" id="{24F13D65-88AF-44E1-860C-A942D52617FE}"/>
                </a:ext>
              </a:extLst>
            </p:cNvPr>
            <p:cNvSpPr>
              <a:spLocks/>
            </p:cNvSpPr>
            <p:nvPr/>
          </p:nvSpPr>
          <p:spPr bwMode="auto">
            <a:xfrm>
              <a:off x="4174" y="1968"/>
              <a:ext cx="104" cy="107"/>
            </a:xfrm>
            <a:custGeom>
              <a:avLst/>
              <a:gdLst>
                <a:gd name="T0" fmla="*/ 0 w 39"/>
                <a:gd name="T1" fmla="*/ 29 h 40"/>
                <a:gd name="T2" fmla="*/ 10 w 39"/>
                <a:gd name="T3" fmla="*/ 40 h 40"/>
                <a:gd name="T4" fmla="*/ 37 w 39"/>
                <a:gd name="T5" fmla="*/ 9 h 40"/>
                <a:gd name="T6" fmla="*/ 39 w 39"/>
                <a:gd name="T7" fmla="*/ 7 h 40"/>
                <a:gd name="T8" fmla="*/ 28 w 39"/>
                <a:gd name="T9" fmla="*/ 1 h 40"/>
                <a:gd name="T10" fmla="*/ 27 w 39"/>
                <a:gd name="T11" fmla="*/ 0 h 40"/>
                <a:gd name="T12" fmla="*/ 0 w 39"/>
                <a:gd name="T13" fmla="*/ 29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2" name="Freeform 24">
              <a:extLst>
                <a:ext uri="{FF2B5EF4-FFF2-40B4-BE49-F238E27FC236}">
                  <a16:creationId xmlns:a16="http://schemas.microsoft.com/office/drawing/2014/main" id="{7FA430E2-DC31-4838-98E1-C54796BA37F2}"/>
                </a:ext>
              </a:extLst>
            </p:cNvPr>
            <p:cNvSpPr>
              <a:spLocks/>
            </p:cNvSpPr>
            <p:nvPr/>
          </p:nvSpPr>
          <p:spPr bwMode="auto">
            <a:xfrm>
              <a:off x="4431" y="2248"/>
              <a:ext cx="107" cy="94"/>
            </a:xfrm>
            <a:custGeom>
              <a:avLst/>
              <a:gdLst>
                <a:gd name="T0" fmla="*/ 7 w 40"/>
                <a:gd name="T1" fmla="*/ 35 h 35"/>
                <a:gd name="T2" fmla="*/ 39 w 40"/>
                <a:gd name="T3" fmla="*/ 9 h 35"/>
                <a:gd name="T4" fmla="*/ 40 w 40"/>
                <a:gd name="T5" fmla="*/ 9 h 35"/>
                <a:gd name="T6" fmla="*/ 33 w 40"/>
                <a:gd name="T7" fmla="*/ 0 h 35"/>
                <a:gd name="T8" fmla="*/ 32 w 40"/>
                <a:gd name="T9" fmla="*/ 1 h 35"/>
                <a:gd name="T10" fmla="*/ 0 w 40"/>
                <a:gd name="T11" fmla="*/ 26 h 35"/>
                <a:gd name="T12" fmla="*/ 7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3" name="Freeform 25">
              <a:extLst>
                <a:ext uri="{FF2B5EF4-FFF2-40B4-BE49-F238E27FC236}">
                  <a16:creationId xmlns:a16="http://schemas.microsoft.com/office/drawing/2014/main" id="{03770ED3-1331-44CF-9071-16EEE108CA41}"/>
                </a:ext>
              </a:extLst>
            </p:cNvPr>
            <p:cNvSpPr>
              <a:spLocks/>
            </p:cNvSpPr>
            <p:nvPr/>
          </p:nvSpPr>
          <p:spPr bwMode="auto">
            <a:xfrm>
              <a:off x="4302" y="2099"/>
              <a:ext cx="113" cy="112"/>
            </a:xfrm>
            <a:custGeom>
              <a:avLst/>
              <a:gdLst>
                <a:gd name="T0" fmla="*/ 10 w 42"/>
                <a:gd name="T1" fmla="*/ 42 h 42"/>
                <a:gd name="T2" fmla="*/ 41 w 42"/>
                <a:gd name="T3" fmla="*/ 12 h 42"/>
                <a:gd name="T4" fmla="*/ 42 w 42"/>
                <a:gd name="T5" fmla="*/ 11 h 42"/>
                <a:gd name="T6" fmla="*/ 31 w 42"/>
                <a:gd name="T7" fmla="*/ 0 h 42"/>
                <a:gd name="T8" fmla="*/ 31 w 42"/>
                <a:gd name="T9" fmla="*/ 1 h 42"/>
                <a:gd name="T10" fmla="*/ 0 w 42"/>
                <a:gd name="T11" fmla="*/ 31 h 42"/>
                <a:gd name="T12" fmla="*/ 1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4" name="Freeform 26">
              <a:extLst>
                <a:ext uri="{FF2B5EF4-FFF2-40B4-BE49-F238E27FC236}">
                  <a16:creationId xmlns:a16="http://schemas.microsoft.com/office/drawing/2014/main" id="{B1D180C2-DECC-4A06-A53A-C8524C859D15}"/>
                </a:ext>
              </a:extLst>
            </p:cNvPr>
            <p:cNvSpPr>
              <a:spLocks/>
            </p:cNvSpPr>
            <p:nvPr/>
          </p:nvSpPr>
          <p:spPr bwMode="auto">
            <a:xfrm>
              <a:off x="4022" y="1842"/>
              <a:ext cx="109" cy="107"/>
            </a:xfrm>
            <a:custGeom>
              <a:avLst/>
              <a:gdLst>
                <a:gd name="T0" fmla="*/ 0 w 41"/>
                <a:gd name="T1" fmla="*/ 32 h 40"/>
                <a:gd name="T2" fmla="*/ 12 w 41"/>
                <a:gd name="T3" fmla="*/ 40 h 40"/>
                <a:gd name="T4" fmla="*/ 40 w 41"/>
                <a:gd name="T5" fmla="*/ 9 h 40"/>
                <a:gd name="T6" fmla="*/ 41 w 41"/>
                <a:gd name="T7" fmla="*/ 7 h 40"/>
                <a:gd name="T8" fmla="*/ 30 w 41"/>
                <a:gd name="T9" fmla="*/ 0 h 40"/>
                <a:gd name="T10" fmla="*/ 29 w 41"/>
                <a:gd name="T11" fmla="*/ 0 h 40"/>
                <a:gd name="T12" fmla="*/ 0 w 41"/>
                <a:gd name="T13" fmla="*/ 32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5" name="Freeform 27">
              <a:extLst>
                <a:ext uri="{FF2B5EF4-FFF2-40B4-BE49-F238E27FC236}">
                  <a16:creationId xmlns:a16="http://schemas.microsoft.com/office/drawing/2014/main" id="{65C2A0BE-CCB4-4C27-867C-67175B222D8B}"/>
                </a:ext>
              </a:extLst>
            </p:cNvPr>
            <p:cNvSpPr>
              <a:spLocks/>
            </p:cNvSpPr>
            <p:nvPr/>
          </p:nvSpPr>
          <p:spPr bwMode="auto">
            <a:xfrm>
              <a:off x="3717" y="1620"/>
              <a:ext cx="94" cy="115"/>
            </a:xfrm>
            <a:custGeom>
              <a:avLst/>
              <a:gdLst>
                <a:gd name="T0" fmla="*/ 12 w 35"/>
                <a:gd name="T1" fmla="*/ 43 h 43"/>
                <a:gd name="T2" fmla="*/ 35 w 35"/>
                <a:gd name="T3" fmla="*/ 8 h 43"/>
                <a:gd name="T4" fmla="*/ 35 w 35"/>
                <a:gd name="T5" fmla="*/ 7 h 43"/>
                <a:gd name="T6" fmla="*/ 23 w 35"/>
                <a:gd name="T7" fmla="*/ 0 h 43"/>
                <a:gd name="T8" fmla="*/ 22 w 35"/>
                <a:gd name="T9" fmla="*/ 0 h 43"/>
                <a:gd name="T10" fmla="*/ 0 w 35"/>
                <a:gd name="T11" fmla="*/ 36 h 43"/>
                <a:gd name="T12" fmla="*/ 12 w 3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5" h="43">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6" name="Freeform 28">
              <a:extLst>
                <a:ext uri="{FF2B5EF4-FFF2-40B4-BE49-F238E27FC236}">
                  <a16:creationId xmlns:a16="http://schemas.microsoft.com/office/drawing/2014/main" id="{9039756A-CC80-470A-A5F1-609A1AB8A44D}"/>
                </a:ext>
              </a:extLst>
            </p:cNvPr>
            <p:cNvSpPr>
              <a:spLocks/>
            </p:cNvSpPr>
            <p:nvPr/>
          </p:nvSpPr>
          <p:spPr bwMode="auto">
            <a:xfrm>
              <a:off x="4893" y="3085"/>
              <a:ext cx="110" cy="77"/>
            </a:xfrm>
            <a:custGeom>
              <a:avLst/>
              <a:gdLst>
                <a:gd name="T0" fmla="*/ 3 w 41"/>
                <a:gd name="T1" fmla="*/ 29 h 29"/>
                <a:gd name="T2" fmla="*/ 41 w 41"/>
                <a:gd name="T3" fmla="*/ 15 h 29"/>
                <a:gd name="T4" fmla="*/ 40 w 41"/>
                <a:gd name="T5" fmla="*/ 10 h 29"/>
                <a:gd name="T6" fmla="*/ 38 w 41"/>
                <a:gd name="T7" fmla="*/ 0 h 29"/>
                <a:gd name="T8" fmla="*/ 37 w 41"/>
                <a:gd name="T9" fmla="*/ 0 h 29"/>
                <a:gd name="T10" fmla="*/ 0 w 41"/>
                <a:gd name="T11" fmla="*/ 14 h 29"/>
                <a:gd name="T12" fmla="*/ 3 w 4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7" name="Freeform 29">
              <a:extLst>
                <a:ext uri="{FF2B5EF4-FFF2-40B4-BE49-F238E27FC236}">
                  <a16:creationId xmlns:a16="http://schemas.microsoft.com/office/drawing/2014/main" id="{D5AB4A75-6AE2-4B2A-B1A0-AEEED1DC0C15}"/>
                </a:ext>
              </a:extLst>
            </p:cNvPr>
            <p:cNvSpPr>
              <a:spLocks/>
            </p:cNvSpPr>
            <p:nvPr/>
          </p:nvSpPr>
          <p:spPr bwMode="auto">
            <a:xfrm>
              <a:off x="5038" y="3844"/>
              <a:ext cx="117" cy="24"/>
            </a:xfrm>
            <a:custGeom>
              <a:avLst/>
              <a:gdLst>
                <a:gd name="T0" fmla="*/ 42 w 44"/>
                <a:gd name="T1" fmla="*/ 0 h 9"/>
                <a:gd name="T2" fmla="*/ 2 w 44"/>
                <a:gd name="T3" fmla="*/ 4 h 9"/>
                <a:gd name="T4" fmla="*/ 1 w 44"/>
                <a:gd name="T5" fmla="*/ 9 h 9"/>
                <a:gd name="T6" fmla="*/ 44 w 44"/>
                <a:gd name="T7" fmla="*/ 9 h 9"/>
                <a:gd name="T8" fmla="*/ 43 w 44"/>
                <a:gd name="T9" fmla="*/ 3 h 9"/>
                <a:gd name="T10" fmla="*/ 42 w 44"/>
                <a:gd name="T11" fmla="*/ 0 h 9"/>
              </a:gdLst>
              <a:ahLst/>
              <a:cxnLst>
                <a:cxn ang="0">
                  <a:pos x="T0" y="T1"/>
                </a:cxn>
                <a:cxn ang="0">
                  <a:pos x="T2" y="T3"/>
                </a:cxn>
                <a:cxn ang="0">
                  <a:pos x="T4" y="T5"/>
                </a:cxn>
                <a:cxn ang="0">
                  <a:pos x="T6" y="T7"/>
                </a:cxn>
                <a:cxn ang="0">
                  <a:pos x="T8" y="T9"/>
                </a:cxn>
                <a:cxn ang="0">
                  <a:pos x="T10" y="T11"/>
                </a:cxn>
              </a:cxnLst>
              <a:rect l="0" t="0" r="r" b="b"/>
              <a:pathLst>
                <a:path w="44" h="9">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8" name="Freeform 30">
              <a:extLst>
                <a:ext uri="{FF2B5EF4-FFF2-40B4-BE49-F238E27FC236}">
                  <a16:creationId xmlns:a16="http://schemas.microsoft.com/office/drawing/2014/main" id="{1344952C-A378-4969-AD96-4581A598870B}"/>
                </a:ext>
              </a:extLst>
            </p:cNvPr>
            <p:cNvSpPr>
              <a:spLocks/>
            </p:cNvSpPr>
            <p:nvPr/>
          </p:nvSpPr>
          <p:spPr bwMode="auto">
            <a:xfrm>
              <a:off x="3880" y="1719"/>
              <a:ext cx="99" cy="118"/>
            </a:xfrm>
            <a:custGeom>
              <a:avLst/>
              <a:gdLst>
                <a:gd name="T0" fmla="*/ 12 w 37"/>
                <a:gd name="T1" fmla="*/ 44 h 44"/>
                <a:gd name="T2" fmla="*/ 36 w 37"/>
                <a:gd name="T3" fmla="*/ 11 h 44"/>
                <a:gd name="T4" fmla="*/ 37 w 37"/>
                <a:gd name="T5" fmla="*/ 10 h 44"/>
                <a:gd name="T6" fmla="*/ 22 w 37"/>
                <a:gd name="T7" fmla="*/ 0 h 44"/>
                <a:gd name="T8" fmla="*/ 21 w 37"/>
                <a:gd name="T9" fmla="*/ 1 h 44"/>
                <a:gd name="T10" fmla="*/ 0 w 37"/>
                <a:gd name="T11" fmla="*/ 36 h 44"/>
                <a:gd name="T12" fmla="*/ 12 w 3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9" name="Freeform 31">
              <a:extLst>
                <a:ext uri="{FF2B5EF4-FFF2-40B4-BE49-F238E27FC236}">
                  <a16:creationId xmlns:a16="http://schemas.microsoft.com/office/drawing/2014/main" id="{AF549B98-824E-41E1-8B7D-B408962B6025}"/>
                </a:ext>
              </a:extLst>
            </p:cNvPr>
            <p:cNvSpPr>
              <a:spLocks/>
            </p:cNvSpPr>
            <p:nvPr/>
          </p:nvSpPr>
          <p:spPr bwMode="auto">
            <a:xfrm>
              <a:off x="4645" y="2556"/>
              <a:ext cx="117" cy="96"/>
            </a:xfrm>
            <a:custGeom>
              <a:avLst/>
              <a:gdLst>
                <a:gd name="T0" fmla="*/ 6 w 44"/>
                <a:gd name="T1" fmla="*/ 36 h 36"/>
                <a:gd name="T2" fmla="*/ 43 w 44"/>
                <a:gd name="T3" fmla="*/ 14 h 36"/>
                <a:gd name="T4" fmla="*/ 44 w 44"/>
                <a:gd name="T5" fmla="*/ 14 h 36"/>
                <a:gd name="T6" fmla="*/ 36 w 44"/>
                <a:gd name="T7" fmla="*/ 0 h 36"/>
                <a:gd name="T8" fmla="*/ 35 w 44"/>
                <a:gd name="T9" fmla="*/ 1 h 36"/>
                <a:gd name="T10" fmla="*/ 0 w 44"/>
                <a:gd name="T11" fmla="*/ 24 h 36"/>
                <a:gd name="T12" fmla="*/ 6 w 4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0" name="Freeform 32">
              <a:extLst>
                <a:ext uri="{FF2B5EF4-FFF2-40B4-BE49-F238E27FC236}">
                  <a16:creationId xmlns:a16="http://schemas.microsoft.com/office/drawing/2014/main" id="{FF43184B-E664-4CFD-926A-81BBFFED6D9F}"/>
                </a:ext>
              </a:extLst>
            </p:cNvPr>
            <p:cNvSpPr>
              <a:spLocks/>
            </p:cNvSpPr>
            <p:nvPr/>
          </p:nvSpPr>
          <p:spPr bwMode="auto">
            <a:xfrm>
              <a:off x="2212" y="425"/>
              <a:ext cx="2069" cy="853"/>
            </a:xfrm>
            <a:custGeom>
              <a:avLst/>
              <a:gdLst>
                <a:gd name="T0" fmla="*/ 699 w 774"/>
                <a:gd name="T1" fmla="*/ 312 h 319"/>
                <a:gd name="T2" fmla="*/ 711 w 774"/>
                <a:gd name="T3" fmla="*/ 319 h 319"/>
                <a:gd name="T4" fmla="*/ 774 w 774"/>
                <a:gd name="T5" fmla="*/ 219 h 319"/>
                <a:gd name="T6" fmla="*/ 762 w 774"/>
                <a:gd name="T7" fmla="*/ 212 h 319"/>
                <a:gd name="T8" fmla="*/ 0 w 774"/>
                <a:gd name="T9" fmla="*/ 11 h 319"/>
                <a:gd name="T10" fmla="*/ 0 w 774"/>
                <a:gd name="T11" fmla="*/ 129 h 319"/>
                <a:gd name="T12" fmla="*/ 699 w 774"/>
                <a:gd name="T13" fmla="*/ 312 h 319"/>
              </a:gdLst>
              <a:ahLst/>
              <a:cxnLst>
                <a:cxn ang="0">
                  <a:pos x="T0" y="T1"/>
                </a:cxn>
                <a:cxn ang="0">
                  <a:pos x="T2" y="T3"/>
                </a:cxn>
                <a:cxn ang="0">
                  <a:pos x="T4" y="T5"/>
                </a:cxn>
                <a:cxn ang="0">
                  <a:pos x="T6" y="T7"/>
                </a:cxn>
                <a:cxn ang="0">
                  <a:pos x="T8" y="T9"/>
                </a:cxn>
                <a:cxn ang="0">
                  <a:pos x="T10" y="T11"/>
                </a:cxn>
                <a:cxn ang="0">
                  <a:pos x="T12" y="T13"/>
                </a:cxn>
              </a:cxnLst>
              <a:rect l="0" t="0" r="r" b="b"/>
              <a:pathLst>
                <a:path w="774" h="319">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1" name="Freeform 33">
              <a:extLst>
                <a:ext uri="{FF2B5EF4-FFF2-40B4-BE49-F238E27FC236}">
                  <a16:creationId xmlns:a16="http://schemas.microsoft.com/office/drawing/2014/main" id="{0A4C3615-31C1-4CC2-B905-992F4592F7CC}"/>
                </a:ext>
              </a:extLst>
            </p:cNvPr>
            <p:cNvSpPr>
              <a:spLocks/>
            </p:cNvSpPr>
            <p:nvPr/>
          </p:nvSpPr>
          <p:spPr bwMode="auto">
            <a:xfrm>
              <a:off x="2212" y="864"/>
              <a:ext cx="762" cy="216"/>
            </a:xfrm>
            <a:custGeom>
              <a:avLst/>
              <a:gdLst>
                <a:gd name="T0" fmla="*/ 0 w 285"/>
                <a:gd name="T1" fmla="*/ 58 h 81"/>
                <a:gd name="T2" fmla="*/ 100 w 285"/>
                <a:gd name="T3" fmla="*/ 59 h 81"/>
                <a:gd name="T4" fmla="*/ 275 w 285"/>
                <a:gd name="T5" fmla="*/ 81 h 81"/>
                <a:gd name="T6" fmla="*/ 279 w 285"/>
                <a:gd name="T7" fmla="*/ 58 h 81"/>
                <a:gd name="T8" fmla="*/ 282 w 285"/>
                <a:gd name="T9" fmla="*/ 44 h 81"/>
                <a:gd name="T10" fmla="*/ 285 w 285"/>
                <a:gd name="T11" fmla="*/ 24 h 81"/>
                <a:gd name="T12" fmla="*/ 102 w 285"/>
                <a:gd name="T13" fmla="*/ 2 h 81"/>
                <a:gd name="T14" fmla="*/ 0 w 285"/>
                <a:gd name="T15" fmla="*/ 1 h 81"/>
                <a:gd name="T16" fmla="*/ 0 w 285"/>
                <a:gd name="T17" fmla="*/ 5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81">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2" name="Freeform 34">
              <a:extLst>
                <a:ext uri="{FF2B5EF4-FFF2-40B4-BE49-F238E27FC236}">
                  <a16:creationId xmlns:a16="http://schemas.microsoft.com/office/drawing/2014/main" id="{3B9AFE6A-CF21-412B-ABB5-28EE0F377A93}"/>
                </a:ext>
              </a:extLst>
            </p:cNvPr>
            <p:cNvSpPr>
              <a:spLocks/>
            </p:cNvSpPr>
            <p:nvPr/>
          </p:nvSpPr>
          <p:spPr bwMode="auto">
            <a:xfrm>
              <a:off x="4065" y="1273"/>
              <a:ext cx="898" cy="820"/>
            </a:xfrm>
            <a:custGeom>
              <a:avLst/>
              <a:gdLst>
                <a:gd name="T0" fmla="*/ 0 w 336"/>
                <a:gd name="T1" fmla="*/ 12 h 307"/>
                <a:gd name="T2" fmla="*/ 324 w 336"/>
                <a:gd name="T3" fmla="*/ 307 h 307"/>
                <a:gd name="T4" fmla="*/ 336 w 336"/>
                <a:gd name="T5" fmla="*/ 302 h 307"/>
                <a:gd name="T6" fmla="*/ 8 w 336"/>
                <a:gd name="T7" fmla="*/ 0 h 307"/>
                <a:gd name="T8" fmla="*/ 0 w 336"/>
                <a:gd name="T9" fmla="*/ 12 h 307"/>
              </a:gdLst>
              <a:ahLst/>
              <a:cxnLst>
                <a:cxn ang="0">
                  <a:pos x="T0" y="T1"/>
                </a:cxn>
                <a:cxn ang="0">
                  <a:pos x="T2" y="T3"/>
                </a:cxn>
                <a:cxn ang="0">
                  <a:pos x="T4" y="T5"/>
                </a:cxn>
                <a:cxn ang="0">
                  <a:pos x="T6" y="T7"/>
                </a:cxn>
                <a:cxn ang="0">
                  <a:pos x="T8" y="T9"/>
                </a:cxn>
              </a:cxnLst>
              <a:rect l="0" t="0" r="r" b="b"/>
              <a:pathLst>
                <a:path w="336" h="307">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3" name="Freeform 35">
              <a:extLst>
                <a:ext uri="{FF2B5EF4-FFF2-40B4-BE49-F238E27FC236}">
                  <a16:creationId xmlns:a16="http://schemas.microsoft.com/office/drawing/2014/main" id="{B3134A58-D1C1-4D35-86FC-36DD3CA7B272}"/>
                </a:ext>
              </a:extLst>
            </p:cNvPr>
            <p:cNvSpPr>
              <a:spLocks/>
            </p:cNvSpPr>
            <p:nvPr/>
          </p:nvSpPr>
          <p:spPr bwMode="auto">
            <a:xfrm>
              <a:off x="4693" y="2181"/>
              <a:ext cx="762" cy="1687"/>
            </a:xfrm>
            <a:custGeom>
              <a:avLst/>
              <a:gdLst>
                <a:gd name="T0" fmla="*/ 55 w 285"/>
                <a:gd name="T1" fmla="*/ 0 h 631"/>
                <a:gd name="T2" fmla="*/ 49 w 285"/>
                <a:gd name="T3" fmla="*/ 4 h 631"/>
                <a:gd name="T4" fmla="*/ 0 w 285"/>
                <a:gd name="T5" fmla="*/ 41 h 631"/>
                <a:gd name="T6" fmla="*/ 199 w 285"/>
                <a:gd name="T7" fmla="*/ 496 h 631"/>
                <a:gd name="T8" fmla="*/ 214 w 285"/>
                <a:gd name="T9" fmla="*/ 631 h 631"/>
                <a:gd name="T10" fmla="*/ 285 w 285"/>
                <a:gd name="T11" fmla="*/ 631 h 631"/>
                <a:gd name="T12" fmla="*/ 269 w 285"/>
                <a:gd name="T13" fmla="*/ 485 h 631"/>
                <a:gd name="T14" fmla="*/ 55 w 285"/>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631">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4" name="Freeform 36">
              <a:extLst>
                <a:ext uri="{FF2B5EF4-FFF2-40B4-BE49-F238E27FC236}">
                  <a16:creationId xmlns:a16="http://schemas.microsoft.com/office/drawing/2014/main" id="{E7A0BA53-4E32-4776-89D0-E93C765396E9}"/>
                </a:ext>
              </a:extLst>
            </p:cNvPr>
            <p:cNvSpPr>
              <a:spLocks/>
            </p:cNvSpPr>
            <p:nvPr/>
          </p:nvSpPr>
          <p:spPr bwMode="auto">
            <a:xfrm>
              <a:off x="2212" y="2112"/>
              <a:ext cx="2002" cy="1756"/>
            </a:xfrm>
            <a:custGeom>
              <a:avLst/>
              <a:gdLst>
                <a:gd name="T0" fmla="*/ 421 w 749"/>
                <a:gd name="T1" fmla="*/ 115 h 657"/>
                <a:gd name="T2" fmla="*/ 0 w 749"/>
                <a:gd name="T3" fmla="*/ 10 h 657"/>
                <a:gd name="T4" fmla="*/ 0 w 749"/>
                <a:gd name="T5" fmla="*/ 657 h 657"/>
                <a:gd name="T6" fmla="*/ 749 w 749"/>
                <a:gd name="T7" fmla="*/ 657 h 657"/>
                <a:gd name="T8" fmla="*/ 421 w 749"/>
                <a:gd name="T9" fmla="*/ 115 h 657"/>
              </a:gdLst>
              <a:ahLst/>
              <a:cxnLst>
                <a:cxn ang="0">
                  <a:pos x="T0" y="T1"/>
                </a:cxn>
                <a:cxn ang="0">
                  <a:pos x="T2" y="T3"/>
                </a:cxn>
                <a:cxn ang="0">
                  <a:pos x="T4" y="T5"/>
                </a:cxn>
                <a:cxn ang="0">
                  <a:pos x="T6" y="T7"/>
                </a:cxn>
                <a:cxn ang="0">
                  <a:pos x="T8" y="T9"/>
                </a:cxn>
              </a:cxnLst>
              <a:rect l="0" t="0" r="r" b="b"/>
              <a:pathLst>
                <a:path w="749" h="657">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35" name="Group 4">
            <a:extLst>
              <a:ext uri="{FF2B5EF4-FFF2-40B4-BE49-F238E27FC236}">
                <a16:creationId xmlns:a16="http://schemas.microsoft.com/office/drawing/2014/main" id="{367CB4D0-42DC-458D-98D4-2809DAE182F4}"/>
              </a:ext>
            </a:extLst>
          </p:cNvPr>
          <p:cNvGrpSpPr>
            <a:grpSpLocks noChangeAspect="1"/>
          </p:cNvGrpSpPr>
          <p:nvPr/>
        </p:nvGrpSpPr>
        <p:grpSpPr bwMode="auto">
          <a:xfrm rot="16200000" flipH="1" flipV="1">
            <a:off x="34637" y="-41474"/>
            <a:ext cx="1186060" cy="1255335"/>
            <a:chOff x="2212" y="425"/>
            <a:chExt cx="3253" cy="3443"/>
          </a:xfrm>
          <a:solidFill>
            <a:schemeClr val="accent1"/>
          </a:solidFill>
        </p:grpSpPr>
        <p:sp>
          <p:nvSpPr>
            <p:cNvPr id="36" name="Freeform 5">
              <a:extLst>
                <a:ext uri="{FF2B5EF4-FFF2-40B4-BE49-F238E27FC236}">
                  <a16:creationId xmlns:a16="http://schemas.microsoft.com/office/drawing/2014/main" id="{A6825084-5DEC-4D32-B9E2-1BEA375DD345}"/>
                </a:ext>
              </a:extLst>
            </p:cNvPr>
            <p:cNvSpPr>
              <a:spLocks/>
            </p:cNvSpPr>
            <p:nvPr/>
          </p:nvSpPr>
          <p:spPr bwMode="auto">
            <a:xfrm>
              <a:off x="2212" y="1171"/>
              <a:ext cx="2978" cy="2697"/>
            </a:xfrm>
            <a:custGeom>
              <a:avLst/>
              <a:gdLst>
                <a:gd name="T0" fmla="*/ 0 w 1114"/>
                <a:gd name="T1" fmla="*/ 11 h 1009"/>
                <a:gd name="T2" fmla="*/ 30 w 1114"/>
                <a:gd name="T3" fmla="*/ 24 h 1009"/>
                <a:gd name="T4" fmla="*/ 46 w 1114"/>
                <a:gd name="T5" fmla="*/ 24 h 1009"/>
                <a:gd name="T6" fmla="*/ 105 w 1114"/>
                <a:gd name="T7" fmla="*/ 23 h 1009"/>
                <a:gd name="T8" fmla="*/ 118 w 1114"/>
                <a:gd name="T9" fmla="*/ 26 h 1009"/>
                <a:gd name="T10" fmla="*/ 177 w 1114"/>
                <a:gd name="T11" fmla="*/ 30 h 1009"/>
                <a:gd name="T12" fmla="*/ 192 w 1114"/>
                <a:gd name="T13" fmla="*/ 33 h 1009"/>
                <a:gd name="T14" fmla="*/ 249 w 1114"/>
                <a:gd name="T15" fmla="*/ 41 h 1009"/>
                <a:gd name="T16" fmla="*/ 261 w 1114"/>
                <a:gd name="T17" fmla="*/ 44 h 1009"/>
                <a:gd name="T18" fmla="*/ 320 w 1114"/>
                <a:gd name="T19" fmla="*/ 56 h 1009"/>
                <a:gd name="T20" fmla="*/ 333 w 1114"/>
                <a:gd name="T21" fmla="*/ 62 h 1009"/>
                <a:gd name="T22" fmla="*/ 386 w 1114"/>
                <a:gd name="T23" fmla="*/ 77 h 1009"/>
                <a:gd name="T24" fmla="*/ 400 w 1114"/>
                <a:gd name="T25" fmla="*/ 82 h 1009"/>
                <a:gd name="T26" fmla="*/ 454 w 1114"/>
                <a:gd name="T27" fmla="*/ 102 h 1009"/>
                <a:gd name="T28" fmla="*/ 471 w 1114"/>
                <a:gd name="T29" fmla="*/ 110 h 1009"/>
                <a:gd name="T30" fmla="*/ 523 w 1114"/>
                <a:gd name="T31" fmla="*/ 133 h 1009"/>
                <a:gd name="T32" fmla="*/ 535 w 1114"/>
                <a:gd name="T33" fmla="*/ 141 h 1009"/>
                <a:gd name="T34" fmla="*/ 586 w 1114"/>
                <a:gd name="T35" fmla="*/ 168 h 1009"/>
                <a:gd name="T36" fmla="*/ 598 w 1114"/>
                <a:gd name="T37" fmla="*/ 176 h 1009"/>
                <a:gd name="T38" fmla="*/ 645 w 1114"/>
                <a:gd name="T39" fmla="*/ 206 h 1009"/>
                <a:gd name="T40" fmla="*/ 661 w 1114"/>
                <a:gd name="T41" fmla="*/ 215 h 1009"/>
                <a:gd name="T42" fmla="*/ 707 w 1114"/>
                <a:gd name="T43" fmla="*/ 251 h 1009"/>
                <a:gd name="T44" fmla="*/ 717 w 1114"/>
                <a:gd name="T45" fmla="*/ 260 h 1009"/>
                <a:gd name="T46" fmla="*/ 773 w 1114"/>
                <a:gd name="T47" fmla="*/ 305 h 1009"/>
                <a:gd name="T48" fmla="*/ 813 w 1114"/>
                <a:gd name="T49" fmla="*/ 348 h 1009"/>
                <a:gd name="T50" fmla="*/ 824 w 1114"/>
                <a:gd name="T51" fmla="*/ 358 h 1009"/>
                <a:gd name="T52" fmla="*/ 862 w 1114"/>
                <a:gd name="T53" fmla="*/ 404 h 1009"/>
                <a:gd name="T54" fmla="*/ 870 w 1114"/>
                <a:gd name="T55" fmla="*/ 412 h 1009"/>
                <a:gd name="T56" fmla="*/ 906 w 1114"/>
                <a:gd name="T57" fmla="*/ 461 h 1009"/>
                <a:gd name="T58" fmla="*/ 914 w 1114"/>
                <a:gd name="T59" fmla="*/ 469 h 1009"/>
                <a:gd name="T60" fmla="*/ 945 w 1114"/>
                <a:gd name="T61" fmla="*/ 519 h 1009"/>
                <a:gd name="T62" fmla="*/ 954 w 1114"/>
                <a:gd name="T63" fmla="*/ 532 h 1009"/>
                <a:gd name="T64" fmla="*/ 981 w 1114"/>
                <a:gd name="T65" fmla="*/ 583 h 1009"/>
                <a:gd name="T66" fmla="*/ 990 w 1114"/>
                <a:gd name="T67" fmla="*/ 596 h 1009"/>
                <a:gd name="T68" fmla="*/ 1014 w 1114"/>
                <a:gd name="T69" fmla="*/ 650 h 1009"/>
                <a:gd name="T70" fmla="*/ 1021 w 1114"/>
                <a:gd name="T71" fmla="*/ 661 h 1009"/>
                <a:gd name="T72" fmla="*/ 1040 w 1114"/>
                <a:gd name="T73" fmla="*/ 716 h 1009"/>
                <a:gd name="T74" fmla="*/ 1043 w 1114"/>
                <a:gd name="T75" fmla="*/ 726 h 1009"/>
                <a:gd name="T76" fmla="*/ 1065 w 1114"/>
                <a:gd name="T77" fmla="*/ 785 h 1009"/>
                <a:gd name="T78" fmla="*/ 1066 w 1114"/>
                <a:gd name="T79" fmla="*/ 801 h 1009"/>
                <a:gd name="T80" fmla="*/ 1081 w 1114"/>
                <a:gd name="T81" fmla="*/ 854 h 1009"/>
                <a:gd name="T82" fmla="*/ 1082 w 1114"/>
                <a:gd name="T83" fmla="*/ 869 h 1009"/>
                <a:gd name="T84" fmla="*/ 1093 w 1114"/>
                <a:gd name="T85" fmla="*/ 929 h 1009"/>
                <a:gd name="T86" fmla="*/ 1100 w 1114"/>
                <a:gd name="T87" fmla="*/ 1003 h 1009"/>
                <a:gd name="T88" fmla="*/ 1114 w 1114"/>
                <a:gd name="T89" fmla="*/ 1009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4" h="1009">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7" name="Freeform 6">
              <a:extLst>
                <a:ext uri="{FF2B5EF4-FFF2-40B4-BE49-F238E27FC236}">
                  <a16:creationId xmlns:a16="http://schemas.microsoft.com/office/drawing/2014/main" id="{3FC81FD2-F3C4-44A6-B664-DD725D99A21B}"/>
                </a:ext>
              </a:extLst>
            </p:cNvPr>
            <p:cNvSpPr>
              <a:spLocks/>
            </p:cNvSpPr>
            <p:nvPr/>
          </p:nvSpPr>
          <p:spPr bwMode="auto">
            <a:xfrm>
              <a:off x="2958" y="981"/>
              <a:ext cx="2507" cy="2887"/>
            </a:xfrm>
            <a:custGeom>
              <a:avLst/>
              <a:gdLst>
                <a:gd name="T0" fmla="*/ 386 w 938"/>
                <a:gd name="T1" fmla="*/ 167 h 1080"/>
                <a:gd name="T2" fmla="*/ 698 w 938"/>
                <a:gd name="T3" fmla="*/ 453 h 1080"/>
                <a:gd name="T4" fmla="*/ 704 w 938"/>
                <a:gd name="T5" fmla="*/ 449 h 1080"/>
                <a:gd name="T6" fmla="*/ 918 w 938"/>
                <a:gd name="T7" fmla="*/ 934 h 1080"/>
                <a:gd name="T8" fmla="*/ 934 w 938"/>
                <a:gd name="T9" fmla="*/ 1080 h 1080"/>
                <a:gd name="T10" fmla="*/ 938 w 938"/>
                <a:gd name="T11" fmla="*/ 1080 h 1080"/>
                <a:gd name="T12" fmla="*/ 393 w 938"/>
                <a:gd name="T13" fmla="*/ 155 h 1080"/>
                <a:gd name="T14" fmla="*/ 3 w 938"/>
                <a:gd name="T15" fmla="*/ 0 h 1080"/>
                <a:gd name="T16" fmla="*/ 0 w 938"/>
                <a:gd name="T17" fmla="*/ 14 h 1080"/>
                <a:gd name="T18" fmla="*/ 386 w 938"/>
                <a:gd name="T19" fmla="*/ 167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108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8" name="Freeform 7">
              <a:extLst>
                <a:ext uri="{FF2B5EF4-FFF2-40B4-BE49-F238E27FC236}">
                  <a16:creationId xmlns:a16="http://schemas.microsoft.com/office/drawing/2014/main" id="{31F4BC38-F917-4882-B53E-4F5CD65C3FFE}"/>
                </a:ext>
              </a:extLst>
            </p:cNvPr>
            <p:cNvSpPr>
              <a:spLocks/>
            </p:cNvSpPr>
            <p:nvPr/>
          </p:nvSpPr>
          <p:spPr bwMode="auto">
            <a:xfrm>
              <a:off x="2212" y="1754"/>
              <a:ext cx="1345" cy="398"/>
            </a:xfrm>
            <a:custGeom>
              <a:avLst/>
              <a:gdLst>
                <a:gd name="T0" fmla="*/ 495 w 503"/>
                <a:gd name="T1" fmla="*/ 149 h 149"/>
                <a:gd name="T2" fmla="*/ 503 w 503"/>
                <a:gd name="T3" fmla="*/ 137 h 149"/>
                <a:gd name="T4" fmla="*/ 0 w 503"/>
                <a:gd name="T5" fmla="*/ 11 h 149"/>
                <a:gd name="T6" fmla="*/ 0 w 503"/>
                <a:gd name="T7" fmla="*/ 25 h 149"/>
                <a:gd name="T8" fmla="*/ 495 w 503"/>
                <a:gd name="T9" fmla="*/ 149 h 149"/>
              </a:gdLst>
              <a:ahLst/>
              <a:cxnLst>
                <a:cxn ang="0">
                  <a:pos x="T0" y="T1"/>
                </a:cxn>
                <a:cxn ang="0">
                  <a:pos x="T2" y="T3"/>
                </a:cxn>
                <a:cxn ang="0">
                  <a:pos x="T4" y="T5"/>
                </a:cxn>
                <a:cxn ang="0">
                  <a:pos x="T6" y="T7"/>
                </a:cxn>
                <a:cxn ang="0">
                  <a:pos x="T8" y="T9"/>
                </a:cxn>
              </a:cxnLst>
              <a:rect l="0" t="0" r="r" b="b"/>
              <a:pathLst>
                <a:path w="503" h="149">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9" name="Freeform 8">
              <a:extLst>
                <a:ext uri="{FF2B5EF4-FFF2-40B4-BE49-F238E27FC236}">
                  <a16:creationId xmlns:a16="http://schemas.microsoft.com/office/drawing/2014/main" id="{C35D5898-3EE9-4A30-A00E-0307D3B025E5}"/>
                </a:ext>
              </a:extLst>
            </p:cNvPr>
            <p:cNvSpPr>
              <a:spLocks/>
            </p:cNvSpPr>
            <p:nvPr/>
          </p:nvSpPr>
          <p:spPr bwMode="auto">
            <a:xfrm>
              <a:off x="3466" y="2072"/>
              <a:ext cx="1208" cy="1796"/>
            </a:xfrm>
            <a:custGeom>
              <a:avLst/>
              <a:gdLst>
                <a:gd name="T0" fmla="*/ 45 w 452"/>
                <a:gd name="T1" fmla="*/ 0 h 672"/>
                <a:gd name="T2" fmla="*/ 34 w 452"/>
                <a:gd name="T3" fmla="*/ 18 h 672"/>
                <a:gd name="T4" fmla="*/ 26 w 452"/>
                <a:gd name="T5" fmla="*/ 30 h 672"/>
                <a:gd name="T6" fmla="*/ 0 w 452"/>
                <a:gd name="T7" fmla="*/ 72 h 672"/>
                <a:gd name="T8" fmla="*/ 366 w 452"/>
                <a:gd name="T9" fmla="*/ 672 h 672"/>
                <a:gd name="T10" fmla="*/ 452 w 452"/>
                <a:gd name="T11" fmla="*/ 672 h 672"/>
                <a:gd name="T12" fmla="*/ 45 w 452"/>
                <a:gd name="T13" fmla="*/ 0 h 672"/>
              </a:gdLst>
              <a:ahLst/>
              <a:cxnLst>
                <a:cxn ang="0">
                  <a:pos x="T0" y="T1"/>
                </a:cxn>
                <a:cxn ang="0">
                  <a:pos x="T2" y="T3"/>
                </a:cxn>
                <a:cxn ang="0">
                  <a:pos x="T4" y="T5"/>
                </a:cxn>
                <a:cxn ang="0">
                  <a:pos x="T6" y="T7"/>
                </a:cxn>
                <a:cxn ang="0">
                  <a:pos x="T8" y="T9"/>
                </a:cxn>
                <a:cxn ang="0">
                  <a:pos x="T10" y="T11"/>
                </a:cxn>
                <a:cxn ang="0">
                  <a:pos x="T12" y="T13"/>
                </a:cxn>
              </a:cxnLst>
              <a:rect l="0" t="0" r="r" b="b"/>
              <a:pathLst>
                <a:path w="452" h="672">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0" name="Freeform 9">
              <a:extLst>
                <a:ext uri="{FF2B5EF4-FFF2-40B4-BE49-F238E27FC236}">
                  <a16:creationId xmlns:a16="http://schemas.microsoft.com/office/drawing/2014/main" id="{57F35A67-134A-4429-9F36-A89BD5A52484}"/>
                </a:ext>
              </a:extLst>
            </p:cNvPr>
            <p:cNvSpPr>
              <a:spLocks/>
            </p:cNvSpPr>
            <p:nvPr/>
          </p:nvSpPr>
          <p:spPr bwMode="auto">
            <a:xfrm>
              <a:off x="3030" y="1321"/>
              <a:ext cx="75" cy="120"/>
            </a:xfrm>
            <a:custGeom>
              <a:avLst/>
              <a:gdLst>
                <a:gd name="T0" fmla="*/ 16 w 28"/>
                <a:gd name="T1" fmla="*/ 44 h 45"/>
                <a:gd name="T2" fmla="*/ 27 w 28"/>
                <a:gd name="T3" fmla="*/ 6 h 45"/>
                <a:gd name="T4" fmla="*/ 28 w 28"/>
                <a:gd name="T5" fmla="*/ 5 h 45"/>
                <a:gd name="T6" fmla="*/ 14 w 28"/>
                <a:gd name="T7" fmla="*/ 0 h 45"/>
                <a:gd name="T8" fmla="*/ 13 w 28"/>
                <a:gd name="T9" fmla="*/ 2 h 45"/>
                <a:gd name="T10" fmla="*/ 0 w 28"/>
                <a:gd name="T11" fmla="*/ 42 h 45"/>
                <a:gd name="T12" fmla="*/ 16 w 28"/>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28" h="45">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1" name="Freeform 10">
              <a:extLst>
                <a:ext uri="{FF2B5EF4-FFF2-40B4-BE49-F238E27FC236}">
                  <a16:creationId xmlns:a16="http://schemas.microsoft.com/office/drawing/2014/main" id="{FE020D81-714A-42E9-A770-87660ACD87B4}"/>
                </a:ext>
              </a:extLst>
            </p:cNvPr>
            <p:cNvSpPr>
              <a:spLocks/>
            </p:cNvSpPr>
            <p:nvPr/>
          </p:nvSpPr>
          <p:spPr bwMode="auto">
            <a:xfrm>
              <a:off x="2669" y="1249"/>
              <a:ext cx="56" cy="120"/>
            </a:xfrm>
            <a:custGeom>
              <a:avLst/>
              <a:gdLst>
                <a:gd name="T0" fmla="*/ 16 w 21"/>
                <a:gd name="T1" fmla="*/ 45 h 45"/>
                <a:gd name="T2" fmla="*/ 21 w 21"/>
                <a:gd name="T3" fmla="*/ 4 h 45"/>
                <a:gd name="T4" fmla="*/ 21 w 21"/>
                <a:gd name="T5" fmla="*/ 2 h 45"/>
                <a:gd name="T6" fmla="*/ 6 w 21"/>
                <a:gd name="T7" fmla="*/ 1 h 45"/>
                <a:gd name="T8" fmla="*/ 5 w 21"/>
                <a:gd name="T9" fmla="*/ 2 h 45"/>
                <a:gd name="T10" fmla="*/ 0 w 21"/>
                <a:gd name="T11" fmla="*/ 44 h 45"/>
                <a:gd name="T12" fmla="*/ 16 w 2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21" h="45">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2" name="Freeform 11">
              <a:extLst>
                <a:ext uri="{FF2B5EF4-FFF2-40B4-BE49-F238E27FC236}">
                  <a16:creationId xmlns:a16="http://schemas.microsoft.com/office/drawing/2014/main" id="{AA734E1E-0499-4BCF-8F52-C0C9E53A2B8D}"/>
                </a:ext>
              </a:extLst>
            </p:cNvPr>
            <p:cNvSpPr>
              <a:spLocks/>
            </p:cNvSpPr>
            <p:nvPr/>
          </p:nvSpPr>
          <p:spPr bwMode="auto">
            <a:xfrm>
              <a:off x="2854" y="1278"/>
              <a:ext cx="58" cy="126"/>
            </a:xfrm>
            <a:custGeom>
              <a:avLst/>
              <a:gdLst>
                <a:gd name="T0" fmla="*/ 14 w 22"/>
                <a:gd name="T1" fmla="*/ 47 h 47"/>
                <a:gd name="T2" fmla="*/ 21 w 22"/>
                <a:gd name="T3" fmla="*/ 4 h 47"/>
                <a:gd name="T4" fmla="*/ 22 w 22"/>
                <a:gd name="T5" fmla="*/ 1 h 47"/>
                <a:gd name="T6" fmla="*/ 9 w 22"/>
                <a:gd name="T7" fmla="*/ 1 h 47"/>
                <a:gd name="T8" fmla="*/ 9 w 22"/>
                <a:gd name="T9" fmla="*/ 2 h 47"/>
                <a:gd name="T10" fmla="*/ 0 w 22"/>
                <a:gd name="T11" fmla="*/ 42 h 47"/>
                <a:gd name="T12" fmla="*/ 14 w 2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22" h="47">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3" name="Freeform 12">
              <a:extLst>
                <a:ext uri="{FF2B5EF4-FFF2-40B4-BE49-F238E27FC236}">
                  <a16:creationId xmlns:a16="http://schemas.microsoft.com/office/drawing/2014/main" id="{39E61C1B-36D7-427D-B950-2BDC0DB71981}"/>
                </a:ext>
              </a:extLst>
            </p:cNvPr>
            <p:cNvSpPr>
              <a:spLocks/>
            </p:cNvSpPr>
            <p:nvPr/>
          </p:nvSpPr>
          <p:spPr bwMode="auto">
            <a:xfrm>
              <a:off x="3214" y="1377"/>
              <a:ext cx="67" cy="118"/>
            </a:xfrm>
            <a:custGeom>
              <a:avLst/>
              <a:gdLst>
                <a:gd name="T0" fmla="*/ 14 w 25"/>
                <a:gd name="T1" fmla="*/ 43 h 44"/>
                <a:gd name="T2" fmla="*/ 25 w 25"/>
                <a:gd name="T3" fmla="*/ 5 h 44"/>
                <a:gd name="T4" fmla="*/ 25 w 25"/>
                <a:gd name="T5" fmla="*/ 4 h 44"/>
                <a:gd name="T6" fmla="*/ 11 w 25"/>
                <a:gd name="T7" fmla="*/ 0 h 44"/>
                <a:gd name="T8" fmla="*/ 11 w 25"/>
                <a:gd name="T9" fmla="*/ 1 h 44"/>
                <a:gd name="T10" fmla="*/ 0 w 25"/>
                <a:gd name="T11" fmla="*/ 39 h 44"/>
                <a:gd name="T12" fmla="*/ 14 w 25"/>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5" h="44">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4" name="Freeform 13">
              <a:extLst>
                <a:ext uri="{FF2B5EF4-FFF2-40B4-BE49-F238E27FC236}">
                  <a16:creationId xmlns:a16="http://schemas.microsoft.com/office/drawing/2014/main" id="{8A349FAD-F1E0-49F8-91AB-41E9E33C7E9B}"/>
                </a:ext>
              </a:extLst>
            </p:cNvPr>
            <p:cNvSpPr>
              <a:spLocks/>
            </p:cNvSpPr>
            <p:nvPr/>
          </p:nvSpPr>
          <p:spPr bwMode="auto">
            <a:xfrm>
              <a:off x="3388" y="1444"/>
              <a:ext cx="83" cy="120"/>
            </a:xfrm>
            <a:custGeom>
              <a:avLst/>
              <a:gdLst>
                <a:gd name="T0" fmla="*/ 12 w 31"/>
                <a:gd name="T1" fmla="*/ 45 h 45"/>
                <a:gd name="T2" fmla="*/ 31 w 31"/>
                <a:gd name="T3" fmla="*/ 8 h 45"/>
                <a:gd name="T4" fmla="*/ 31 w 31"/>
                <a:gd name="T5" fmla="*/ 7 h 45"/>
                <a:gd name="T6" fmla="*/ 14 w 31"/>
                <a:gd name="T7" fmla="*/ 0 h 45"/>
                <a:gd name="T8" fmla="*/ 14 w 31"/>
                <a:gd name="T9" fmla="*/ 1 h 45"/>
                <a:gd name="T10" fmla="*/ 0 w 31"/>
                <a:gd name="T11" fmla="*/ 37 h 45"/>
                <a:gd name="T12" fmla="*/ 12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5" name="Freeform 14">
              <a:extLst>
                <a:ext uri="{FF2B5EF4-FFF2-40B4-BE49-F238E27FC236}">
                  <a16:creationId xmlns:a16="http://schemas.microsoft.com/office/drawing/2014/main" id="{3FE520FC-3499-41F1-93AF-43163118F464}"/>
                </a:ext>
              </a:extLst>
            </p:cNvPr>
            <p:cNvSpPr>
              <a:spLocks/>
            </p:cNvSpPr>
            <p:nvPr/>
          </p:nvSpPr>
          <p:spPr bwMode="auto">
            <a:xfrm>
              <a:off x="4540" y="2401"/>
              <a:ext cx="115" cy="90"/>
            </a:xfrm>
            <a:custGeom>
              <a:avLst/>
              <a:gdLst>
                <a:gd name="T0" fmla="*/ 10 w 43"/>
                <a:gd name="T1" fmla="*/ 34 h 34"/>
                <a:gd name="T2" fmla="*/ 42 w 43"/>
                <a:gd name="T3" fmla="*/ 10 h 34"/>
                <a:gd name="T4" fmla="*/ 43 w 43"/>
                <a:gd name="T5" fmla="*/ 9 h 34"/>
                <a:gd name="T6" fmla="*/ 36 w 43"/>
                <a:gd name="T7" fmla="*/ 0 h 34"/>
                <a:gd name="T8" fmla="*/ 35 w 43"/>
                <a:gd name="T9" fmla="*/ 1 h 34"/>
                <a:gd name="T10" fmla="*/ 0 w 43"/>
                <a:gd name="T11" fmla="*/ 24 h 34"/>
                <a:gd name="T12" fmla="*/ 10 w 4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3" h="34">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6" name="Freeform 15">
              <a:extLst>
                <a:ext uri="{FF2B5EF4-FFF2-40B4-BE49-F238E27FC236}">
                  <a16:creationId xmlns:a16="http://schemas.microsoft.com/office/drawing/2014/main" id="{0C59F5BB-8E95-409F-99E6-D607F18EC703}"/>
                </a:ext>
              </a:extLst>
            </p:cNvPr>
            <p:cNvSpPr>
              <a:spLocks/>
            </p:cNvSpPr>
            <p:nvPr/>
          </p:nvSpPr>
          <p:spPr bwMode="auto">
            <a:xfrm>
              <a:off x="4738" y="2727"/>
              <a:ext cx="121" cy="88"/>
            </a:xfrm>
            <a:custGeom>
              <a:avLst/>
              <a:gdLst>
                <a:gd name="T0" fmla="*/ 8 w 45"/>
                <a:gd name="T1" fmla="*/ 33 h 33"/>
                <a:gd name="T2" fmla="*/ 43 w 45"/>
                <a:gd name="T3" fmla="*/ 15 h 33"/>
                <a:gd name="T4" fmla="*/ 45 w 45"/>
                <a:gd name="T5" fmla="*/ 14 h 33"/>
                <a:gd name="T6" fmla="*/ 37 w 45"/>
                <a:gd name="T7" fmla="*/ 0 h 33"/>
                <a:gd name="T8" fmla="*/ 36 w 45"/>
                <a:gd name="T9" fmla="*/ 1 h 33"/>
                <a:gd name="T10" fmla="*/ 0 w 45"/>
                <a:gd name="T11" fmla="*/ 19 h 33"/>
                <a:gd name="T12" fmla="*/ 8 w 4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45" h="33">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7" name="Freeform 16">
              <a:extLst>
                <a:ext uri="{FF2B5EF4-FFF2-40B4-BE49-F238E27FC236}">
                  <a16:creationId xmlns:a16="http://schemas.microsoft.com/office/drawing/2014/main" id="{0F992B02-5852-4050-B7C3-1E506C51AAC2}"/>
                </a:ext>
              </a:extLst>
            </p:cNvPr>
            <p:cNvSpPr>
              <a:spLocks/>
            </p:cNvSpPr>
            <p:nvPr/>
          </p:nvSpPr>
          <p:spPr bwMode="auto">
            <a:xfrm>
              <a:off x="4987" y="3454"/>
              <a:ext cx="123" cy="67"/>
            </a:xfrm>
            <a:custGeom>
              <a:avLst/>
              <a:gdLst>
                <a:gd name="T0" fmla="*/ 2 w 46"/>
                <a:gd name="T1" fmla="*/ 25 h 25"/>
                <a:gd name="T2" fmla="*/ 44 w 46"/>
                <a:gd name="T3" fmla="*/ 15 h 25"/>
                <a:gd name="T4" fmla="*/ 46 w 46"/>
                <a:gd name="T5" fmla="*/ 15 h 25"/>
                <a:gd name="T6" fmla="*/ 43 w 46"/>
                <a:gd name="T7" fmla="*/ 0 h 25"/>
                <a:gd name="T8" fmla="*/ 41 w 46"/>
                <a:gd name="T9" fmla="*/ 0 h 25"/>
                <a:gd name="T10" fmla="*/ 2 w 46"/>
                <a:gd name="T11" fmla="*/ 12 h 25"/>
                <a:gd name="T12" fmla="*/ 2 w 4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6" h="25">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8" name="Freeform 17">
              <a:extLst>
                <a:ext uri="{FF2B5EF4-FFF2-40B4-BE49-F238E27FC236}">
                  <a16:creationId xmlns:a16="http://schemas.microsoft.com/office/drawing/2014/main" id="{B5C83604-4E8E-46D9-B87C-C06C24BEFB6E}"/>
                </a:ext>
              </a:extLst>
            </p:cNvPr>
            <p:cNvSpPr>
              <a:spLocks/>
            </p:cNvSpPr>
            <p:nvPr/>
          </p:nvSpPr>
          <p:spPr bwMode="auto">
            <a:xfrm>
              <a:off x="2487" y="1233"/>
              <a:ext cx="40" cy="120"/>
            </a:xfrm>
            <a:custGeom>
              <a:avLst/>
              <a:gdLst>
                <a:gd name="T0" fmla="*/ 12 w 15"/>
                <a:gd name="T1" fmla="*/ 44 h 45"/>
                <a:gd name="T2" fmla="*/ 15 w 15"/>
                <a:gd name="T3" fmla="*/ 3 h 45"/>
                <a:gd name="T4" fmla="*/ 15 w 15"/>
                <a:gd name="T5" fmla="*/ 0 h 45"/>
                <a:gd name="T6" fmla="*/ 2 w 15"/>
                <a:gd name="T7" fmla="*/ 0 h 45"/>
                <a:gd name="T8" fmla="*/ 2 w 15"/>
                <a:gd name="T9" fmla="*/ 2 h 45"/>
                <a:gd name="T10" fmla="*/ 0 w 15"/>
                <a:gd name="T11" fmla="*/ 45 h 45"/>
                <a:gd name="T12" fmla="*/ 12 w 15"/>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5" h="45">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9" name="Freeform 18">
              <a:extLst>
                <a:ext uri="{FF2B5EF4-FFF2-40B4-BE49-F238E27FC236}">
                  <a16:creationId xmlns:a16="http://schemas.microsoft.com/office/drawing/2014/main" id="{2D8C6106-7ED7-409A-AB3D-A8D42359770A}"/>
                </a:ext>
              </a:extLst>
            </p:cNvPr>
            <p:cNvSpPr>
              <a:spLocks/>
            </p:cNvSpPr>
            <p:nvPr/>
          </p:nvSpPr>
          <p:spPr bwMode="auto">
            <a:xfrm>
              <a:off x="5022" y="3654"/>
              <a:ext cx="117" cy="46"/>
            </a:xfrm>
            <a:custGeom>
              <a:avLst/>
              <a:gdLst>
                <a:gd name="T0" fmla="*/ 2 w 44"/>
                <a:gd name="T1" fmla="*/ 17 h 17"/>
                <a:gd name="T2" fmla="*/ 42 w 44"/>
                <a:gd name="T3" fmla="*/ 13 h 17"/>
                <a:gd name="T4" fmla="*/ 43 w 44"/>
                <a:gd name="T5" fmla="*/ 12 h 17"/>
                <a:gd name="T6" fmla="*/ 42 w 44"/>
                <a:gd name="T7" fmla="*/ 0 h 17"/>
                <a:gd name="T8" fmla="*/ 41 w 44"/>
                <a:gd name="T9" fmla="*/ 0 h 17"/>
                <a:gd name="T10" fmla="*/ 1 w 44"/>
                <a:gd name="T11" fmla="*/ 4 h 17"/>
                <a:gd name="T12" fmla="*/ 2 w 4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4" h="17">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0" name="Freeform 19">
              <a:extLst>
                <a:ext uri="{FF2B5EF4-FFF2-40B4-BE49-F238E27FC236}">
                  <a16:creationId xmlns:a16="http://schemas.microsoft.com/office/drawing/2014/main" id="{EC96ECFA-A01E-4781-AF69-F28DFFA06DEB}"/>
                </a:ext>
              </a:extLst>
            </p:cNvPr>
            <p:cNvSpPr>
              <a:spLocks/>
            </p:cNvSpPr>
            <p:nvPr/>
          </p:nvSpPr>
          <p:spPr bwMode="auto">
            <a:xfrm>
              <a:off x="4941" y="3269"/>
              <a:ext cx="126" cy="67"/>
            </a:xfrm>
            <a:custGeom>
              <a:avLst/>
              <a:gdLst>
                <a:gd name="T0" fmla="*/ 3 w 47"/>
                <a:gd name="T1" fmla="*/ 25 h 25"/>
                <a:gd name="T2" fmla="*/ 45 w 47"/>
                <a:gd name="T3" fmla="*/ 16 h 25"/>
                <a:gd name="T4" fmla="*/ 47 w 47"/>
                <a:gd name="T5" fmla="*/ 15 h 25"/>
                <a:gd name="T6" fmla="*/ 44 w 47"/>
                <a:gd name="T7" fmla="*/ 0 h 25"/>
                <a:gd name="T8" fmla="*/ 41 w 47"/>
                <a:gd name="T9" fmla="*/ 1 h 25"/>
                <a:gd name="T10" fmla="*/ 0 w 47"/>
                <a:gd name="T11" fmla="*/ 11 h 25"/>
                <a:gd name="T12" fmla="*/ 3 w 47"/>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7" h="25">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1" name="Freeform 20">
              <a:extLst>
                <a:ext uri="{FF2B5EF4-FFF2-40B4-BE49-F238E27FC236}">
                  <a16:creationId xmlns:a16="http://schemas.microsoft.com/office/drawing/2014/main" id="{F7366DEF-75A6-46D0-9C3B-3F65339C1C68}"/>
                </a:ext>
              </a:extLst>
            </p:cNvPr>
            <p:cNvSpPr>
              <a:spLocks/>
            </p:cNvSpPr>
            <p:nvPr/>
          </p:nvSpPr>
          <p:spPr bwMode="auto">
            <a:xfrm>
              <a:off x="4818" y="2908"/>
              <a:ext cx="123" cy="75"/>
            </a:xfrm>
            <a:custGeom>
              <a:avLst/>
              <a:gdLst>
                <a:gd name="T0" fmla="*/ 6 w 46"/>
                <a:gd name="T1" fmla="*/ 28 h 28"/>
                <a:gd name="T2" fmla="*/ 44 w 46"/>
                <a:gd name="T3" fmla="*/ 12 h 28"/>
                <a:gd name="T4" fmla="*/ 46 w 46"/>
                <a:gd name="T5" fmla="*/ 11 h 28"/>
                <a:gd name="T6" fmla="*/ 40 w 46"/>
                <a:gd name="T7" fmla="*/ 0 h 28"/>
                <a:gd name="T8" fmla="*/ 39 w 46"/>
                <a:gd name="T9" fmla="*/ 0 h 28"/>
                <a:gd name="T10" fmla="*/ 0 w 46"/>
                <a:gd name="T11" fmla="*/ 17 h 28"/>
                <a:gd name="T12" fmla="*/ 6 w 4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6" h="28">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2" name="Freeform 21">
              <a:extLst>
                <a:ext uri="{FF2B5EF4-FFF2-40B4-BE49-F238E27FC236}">
                  <a16:creationId xmlns:a16="http://schemas.microsoft.com/office/drawing/2014/main" id="{634C20F9-A072-48A4-90A3-647983757686}"/>
                </a:ext>
              </a:extLst>
            </p:cNvPr>
            <p:cNvSpPr>
              <a:spLocks/>
            </p:cNvSpPr>
            <p:nvPr/>
          </p:nvSpPr>
          <p:spPr bwMode="auto">
            <a:xfrm>
              <a:off x="2292" y="1227"/>
              <a:ext cx="43" cy="121"/>
            </a:xfrm>
            <a:custGeom>
              <a:avLst/>
              <a:gdLst>
                <a:gd name="T0" fmla="*/ 15 w 16"/>
                <a:gd name="T1" fmla="*/ 44 h 45"/>
                <a:gd name="T2" fmla="*/ 16 w 16"/>
                <a:gd name="T3" fmla="*/ 3 h 45"/>
                <a:gd name="T4" fmla="*/ 16 w 16"/>
                <a:gd name="T5" fmla="*/ 3 h 45"/>
                <a:gd name="T6" fmla="*/ 0 w 16"/>
                <a:gd name="T7" fmla="*/ 1 h 45"/>
                <a:gd name="T8" fmla="*/ 0 w 16"/>
                <a:gd name="T9" fmla="*/ 3 h 45"/>
                <a:gd name="T10" fmla="*/ 2 w 16"/>
                <a:gd name="T11" fmla="*/ 45 h 45"/>
                <a:gd name="T12" fmla="*/ 15 w 16"/>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3" name="Freeform 22">
              <a:extLst>
                <a:ext uri="{FF2B5EF4-FFF2-40B4-BE49-F238E27FC236}">
                  <a16:creationId xmlns:a16="http://schemas.microsoft.com/office/drawing/2014/main" id="{1C9E109C-A774-421B-9BA1-D4A19D3FB7F7}"/>
                </a:ext>
              </a:extLst>
            </p:cNvPr>
            <p:cNvSpPr>
              <a:spLocks/>
            </p:cNvSpPr>
            <p:nvPr/>
          </p:nvSpPr>
          <p:spPr bwMode="auto">
            <a:xfrm>
              <a:off x="3559" y="1527"/>
              <a:ext cx="86" cy="123"/>
            </a:xfrm>
            <a:custGeom>
              <a:avLst/>
              <a:gdLst>
                <a:gd name="T0" fmla="*/ 12 w 32"/>
                <a:gd name="T1" fmla="*/ 46 h 46"/>
                <a:gd name="T2" fmla="*/ 31 w 32"/>
                <a:gd name="T3" fmla="*/ 8 h 46"/>
                <a:gd name="T4" fmla="*/ 32 w 32"/>
                <a:gd name="T5" fmla="*/ 7 h 46"/>
                <a:gd name="T6" fmla="*/ 19 w 32"/>
                <a:gd name="T7" fmla="*/ 0 h 46"/>
                <a:gd name="T8" fmla="*/ 19 w 32"/>
                <a:gd name="T9" fmla="*/ 1 h 46"/>
                <a:gd name="T10" fmla="*/ 0 w 32"/>
                <a:gd name="T11" fmla="*/ 38 h 46"/>
                <a:gd name="T12" fmla="*/ 12 w 3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2" h="46">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4" name="Freeform 23">
              <a:extLst>
                <a:ext uri="{FF2B5EF4-FFF2-40B4-BE49-F238E27FC236}">
                  <a16:creationId xmlns:a16="http://schemas.microsoft.com/office/drawing/2014/main" id="{49DDC9CB-C639-4B23-B8A3-D71B5D71C377}"/>
                </a:ext>
              </a:extLst>
            </p:cNvPr>
            <p:cNvSpPr>
              <a:spLocks/>
            </p:cNvSpPr>
            <p:nvPr/>
          </p:nvSpPr>
          <p:spPr bwMode="auto">
            <a:xfrm>
              <a:off x="4174" y="1968"/>
              <a:ext cx="104" cy="107"/>
            </a:xfrm>
            <a:custGeom>
              <a:avLst/>
              <a:gdLst>
                <a:gd name="T0" fmla="*/ 0 w 39"/>
                <a:gd name="T1" fmla="*/ 29 h 40"/>
                <a:gd name="T2" fmla="*/ 10 w 39"/>
                <a:gd name="T3" fmla="*/ 40 h 40"/>
                <a:gd name="T4" fmla="*/ 37 w 39"/>
                <a:gd name="T5" fmla="*/ 9 h 40"/>
                <a:gd name="T6" fmla="*/ 39 w 39"/>
                <a:gd name="T7" fmla="*/ 7 h 40"/>
                <a:gd name="T8" fmla="*/ 28 w 39"/>
                <a:gd name="T9" fmla="*/ 1 h 40"/>
                <a:gd name="T10" fmla="*/ 27 w 39"/>
                <a:gd name="T11" fmla="*/ 0 h 40"/>
                <a:gd name="T12" fmla="*/ 0 w 39"/>
                <a:gd name="T13" fmla="*/ 29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5" name="Freeform 24">
              <a:extLst>
                <a:ext uri="{FF2B5EF4-FFF2-40B4-BE49-F238E27FC236}">
                  <a16:creationId xmlns:a16="http://schemas.microsoft.com/office/drawing/2014/main" id="{8AD74AE2-6A56-4F6F-BB5C-1089F7DB5D85}"/>
                </a:ext>
              </a:extLst>
            </p:cNvPr>
            <p:cNvSpPr>
              <a:spLocks/>
            </p:cNvSpPr>
            <p:nvPr/>
          </p:nvSpPr>
          <p:spPr bwMode="auto">
            <a:xfrm>
              <a:off x="4431" y="2248"/>
              <a:ext cx="107" cy="94"/>
            </a:xfrm>
            <a:custGeom>
              <a:avLst/>
              <a:gdLst>
                <a:gd name="T0" fmla="*/ 7 w 40"/>
                <a:gd name="T1" fmla="*/ 35 h 35"/>
                <a:gd name="T2" fmla="*/ 39 w 40"/>
                <a:gd name="T3" fmla="*/ 9 h 35"/>
                <a:gd name="T4" fmla="*/ 40 w 40"/>
                <a:gd name="T5" fmla="*/ 9 h 35"/>
                <a:gd name="T6" fmla="*/ 33 w 40"/>
                <a:gd name="T7" fmla="*/ 0 h 35"/>
                <a:gd name="T8" fmla="*/ 32 w 40"/>
                <a:gd name="T9" fmla="*/ 1 h 35"/>
                <a:gd name="T10" fmla="*/ 0 w 40"/>
                <a:gd name="T11" fmla="*/ 26 h 35"/>
                <a:gd name="T12" fmla="*/ 7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6" name="Freeform 25">
              <a:extLst>
                <a:ext uri="{FF2B5EF4-FFF2-40B4-BE49-F238E27FC236}">
                  <a16:creationId xmlns:a16="http://schemas.microsoft.com/office/drawing/2014/main" id="{3298D7EB-DF70-4B0E-9BAC-5961A3797EDE}"/>
                </a:ext>
              </a:extLst>
            </p:cNvPr>
            <p:cNvSpPr>
              <a:spLocks/>
            </p:cNvSpPr>
            <p:nvPr/>
          </p:nvSpPr>
          <p:spPr bwMode="auto">
            <a:xfrm>
              <a:off x="4302" y="2099"/>
              <a:ext cx="113" cy="112"/>
            </a:xfrm>
            <a:custGeom>
              <a:avLst/>
              <a:gdLst>
                <a:gd name="T0" fmla="*/ 10 w 42"/>
                <a:gd name="T1" fmla="*/ 42 h 42"/>
                <a:gd name="T2" fmla="*/ 41 w 42"/>
                <a:gd name="T3" fmla="*/ 12 h 42"/>
                <a:gd name="T4" fmla="*/ 42 w 42"/>
                <a:gd name="T5" fmla="*/ 11 h 42"/>
                <a:gd name="T6" fmla="*/ 31 w 42"/>
                <a:gd name="T7" fmla="*/ 0 h 42"/>
                <a:gd name="T8" fmla="*/ 31 w 42"/>
                <a:gd name="T9" fmla="*/ 1 h 42"/>
                <a:gd name="T10" fmla="*/ 0 w 42"/>
                <a:gd name="T11" fmla="*/ 31 h 42"/>
                <a:gd name="T12" fmla="*/ 1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7" name="Freeform 26">
              <a:extLst>
                <a:ext uri="{FF2B5EF4-FFF2-40B4-BE49-F238E27FC236}">
                  <a16:creationId xmlns:a16="http://schemas.microsoft.com/office/drawing/2014/main" id="{5A9FF9F2-042F-48D7-911D-D54B5CD940FA}"/>
                </a:ext>
              </a:extLst>
            </p:cNvPr>
            <p:cNvSpPr>
              <a:spLocks/>
            </p:cNvSpPr>
            <p:nvPr/>
          </p:nvSpPr>
          <p:spPr bwMode="auto">
            <a:xfrm>
              <a:off x="4022" y="1842"/>
              <a:ext cx="109" cy="107"/>
            </a:xfrm>
            <a:custGeom>
              <a:avLst/>
              <a:gdLst>
                <a:gd name="T0" fmla="*/ 0 w 41"/>
                <a:gd name="T1" fmla="*/ 32 h 40"/>
                <a:gd name="T2" fmla="*/ 12 w 41"/>
                <a:gd name="T3" fmla="*/ 40 h 40"/>
                <a:gd name="T4" fmla="*/ 40 w 41"/>
                <a:gd name="T5" fmla="*/ 9 h 40"/>
                <a:gd name="T6" fmla="*/ 41 w 41"/>
                <a:gd name="T7" fmla="*/ 7 h 40"/>
                <a:gd name="T8" fmla="*/ 30 w 41"/>
                <a:gd name="T9" fmla="*/ 0 h 40"/>
                <a:gd name="T10" fmla="*/ 29 w 41"/>
                <a:gd name="T11" fmla="*/ 0 h 40"/>
                <a:gd name="T12" fmla="*/ 0 w 41"/>
                <a:gd name="T13" fmla="*/ 32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8" name="Freeform 27">
              <a:extLst>
                <a:ext uri="{FF2B5EF4-FFF2-40B4-BE49-F238E27FC236}">
                  <a16:creationId xmlns:a16="http://schemas.microsoft.com/office/drawing/2014/main" id="{7428441B-CA8D-4488-ADE9-82BE1A0E8632}"/>
                </a:ext>
              </a:extLst>
            </p:cNvPr>
            <p:cNvSpPr>
              <a:spLocks/>
            </p:cNvSpPr>
            <p:nvPr/>
          </p:nvSpPr>
          <p:spPr bwMode="auto">
            <a:xfrm>
              <a:off x="3717" y="1620"/>
              <a:ext cx="94" cy="115"/>
            </a:xfrm>
            <a:custGeom>
              <a:avLst/>
              <a:gdLst>
                <a:gd name="T0" fmla="*/ 12 w 35"/>
                <a:gd name="T1" fmla="*/ 43 h 43"/>
                <a:gd name="T2" fmla="*/ 35 w 35"/>
                <a:gd name="T3" fmla="*/ 8 h 43"/>
                <a:gd name="T4" fmla="*/ 35 w 35"/>
                <a:gd name="T5" fmla="*/ 7 h 43"/>
                <a:gd name="T6" fmla="*/ 23 w 35"/>
                <a:gd name="T7" fmla="*/ 0 h 43"/>
                <a:gd name="T8" fmla="*/ 22 w 35"/>
                <a:gd name="T9" fmla="*/ 0 h 43"/>
                <a:gd name="T10" fmla="*/ 0 w 35"/>
                <a:gd name="T11" fmla="*/ 36 h 43"/>
                <a:gd name="T12" fmla="*/ 12 w 3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5" h="43">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9" name="Freeform 28">
              <a:extLst>
                <a:ext uri="{FF2B5EF4-FFF2-40B4-BE49-F238E27FC236}">
                  <a16:creationId xmlns:a16="http://schemas.microsoft.com/office/drawing/2014/main" id="{7841FE89-F18E-4967-9223-7C84CFE81373}"/>
                </a:ext>
              </a:extLst>
            </p:cNvPr>
            <p:cNvSpPr>
              <a:spLocks/>
            </p:cNvSpPr>
            <p:nvPr/>
          </p:nvSpPr>
          <p:spPr bwMode="auto">
            <a:xfrm>
              <a:off x="4893" y="3085"/>
              <a:ext cx="110" cy="77"/>
            </a:xfrm>
            <a:custGeom>
              <a:avLst/>
              <a:gdLst>
                <a:gd name="T0" fmla="*/ 3 w 41"/>
                <a:gd name="T1" fmla="*/ 29 h 29"/>
                <a:gd name="T2" fmla="*/ 41 w 41"/>
                <a:gd name="T3" fmla="*/ 15 h 29"/>
                <a:gd name="T4" fmla="*/ 40 w 41"/>
                <a:gd name="T5" fmla="*/ 10 h 29"/>
                <a:gd name="T6" fmla="*/ 38 w 41"/>
                <a:gd name="T7" fmla="*/ 0 h 29"/>
                <a:gd name="T8" fmla="*/ 37 w 41"/>
                <a:gd name="T9" fmla="*/ 0 h 29"/>
                <a:gd name="T10" fmla="*/ 0 w 41"/>
                <a:gd name="T11" fmla="*/ 14 h 29"/>
                <a:gd name="T12" fmla="*/ 3 w 4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0" name="Freeform 29">
              <a:extLst>
                <a:ext uri="{FF2B5EF4-FFF2-40B4-BE49-F238E27FC236}">
                  <a16:creationId xmlns:a16="http://schemas.microsoft.com/office/drawing/2014/main" id="{A1917869-90AB-4481-92C5-05A3AD072E2A}"/>
                </a:ext>
              </a:extLst>
            </p:cNvPr>
            <p:cNvSpPr>
              <a:spLocks/>
            </p:cNvSpPr>
            <p:nvPr/>
          </p:nvSpPr>
          <p:spPr bwMode="auto">
            <a:xfrm>
              <a:off x="5038" y="3844"/>
              <a:ext cx="117" cy="24"/>
            </a:xfrm>
            <a:custGeom>
              <a:avLst/>
              <a:gdLst>
                <a:gd name="T0" fmla="*/ 42 w 44"/>
                <a:gd name="T1" fmla="*/ 0 h 9"/>
                <a:gd name="T2" fmla="*/ 2 w 44"/>
                <a:gd name="T3" fmla="*/ 4 h 9"/>
                <a:gd name="T4" fmla="*/ 1 w 44"/>
                <a:gd name="T5" fmla="*/ 9 h 9"/>
                <a:gd name="T6" fmla="*/ 44 w 44"/>
                <a:gd name="T7" fmla="*/ 9 h 9"/>
                <a:gd name="T8" fmla="*/ 43 w 44"/>
                <a:gd name="T9" fmla="*/ 3 h 9"/>
                <a:gd name="T10" fmla="*/ 42 w 44"/>
                <a:gd name="T11" fmla="*/ 0 h 9"/>
              </a:gdLst>
              <a:ahLst/>
              <a:cxnLst>
                <a:cxn ang="0">
                  <a:pos x="T0" y="T1"/>
                </a:cxn>
                <a:cxn ang="0">
                  <a:pos x="T2" y="T3"/>
                </a:cxn>
                <a:cxn ang="0">
                  <a:pos x="T4" y="T5"/>
                </a:cxn>
                <a:cxn ang="0">
                  <a:pos x="T6" y="T7"/>
                </a:cxn>
                <a:cxn ang="0">
                  <a:pos x="T8" y="T9"/>
                </a:cxn>
                <a:cxn ang="0">
                  <a:pos x="T10" y="T11"/>
                </a:cxn>
              </a:cxnLst>
              <a:rect l="0" t="0" r="r" b="b"/>
              <a:pathLst>
                <a:path w="44" h="9">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1" name="Freeform 30">
              <a:extLst>
                <a:ext uri="{FF2B5EF4-FFF2-40B4-BE49-F238E27FC236}">
                  <a16:creationId xmlns:a16="http://schemas.microsoft.com/office/drawing/2014/main" id="{30123F94-9566-47F7-B76C-73EF88CD66AD}"/>
                </a:ext>
              </a:extLst>
            </p:cNvPr>
            <p:cNvSpPr>
              <a:spLocks/>
            </p:cNvSpPr>
            <p:nvPr/>
          </p:nvSpPr>
          <p:spPr bwMode="auto">
            <a:xfrm>
              <a:off x="3880" y="1719"/>
              <a:ext cx="99" cy="118"/>
            </a:xfrm>
            <a:custGeom>
              <a:avLst/>
              <a:gdLst>
                <a:gd name="T0" fmla="*/ 12 w 37"/>
                <a:gd name="T1" fmla="*/ 44 h 44"/>
                <a:gd name="T2" fmla="*/ 36 w 37"/>
                <a:gd name="T3" fmla="*/ 11 h 44"/>
                <a:gd name="T4" fmla="*/ 37 w 37"/>
                <a:gd name="T5" fmla="*/ 10 h 44"/>
                <a:gd name="T6" fmla="*/ 22 w 37"/>
                <a:gd name="T7" fmla="*/ 0 h 44"/>
                <a:gd name="T8" fmla="*/ 21 w 37"/>
                <a:gd name="T9" fmla="*/ 1 h 44"/>
                <a:gd name="T10" fmla="*/ 0 w 37"/>
                <a:gd name="T11" fmla="*/ 36 h 44"/>
                <a:gd name="T12" fmla="*/ 12 w 3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2" name="Freeform 31">
              <a:extLst>
                <a:ext uri="{FF2B5EF4-FFF2-40B4-BE49-F238E27FC236}">
                  <a16:creationId xmlns:a16="http://schemas.microsoft.com/office/drawing/2014/main" id="{46E57CBD-FB97-4869-A399-B7FC81FB0BE9}"/>
                </a:ext>
              </a:extLst>
            </p:cNvPr>
            <p:cNvSpPr>
              <a:spLocks/>
            </p:cNvSpPr>
            <p:nvPr/>
          </p:nvSpPr>
          <p:spPr bwMode="auto">
            <a:xfrm>
              <a:off x="4645" y="2556"/>
              <a:ext cx="117" cy="96"/>
            </a:xfrm>
            <a:custGeom>
              <a:avLst/>
              <a:gdLst>
                <a:gd name="T0" fmla="*/ 6 w 44"/>
                <a:gd name="T1" fmla="*/ 36 h 36"/>
                <a:gd name="T2" fmla="*/ 43 w 44"/>
                <a:gd name="T3" fmla="*/ 14 h 36"/>
                <a:gd name="T4" fmla="*/ 44 w 44"/>
                <a:gd name="T5" fmla="*/ 14 h 36"/>
                <a:gd name="T6" fmla="*/ 36 w 44"/>
                <a:gd name="T7" fmla="*/ 0 h 36"/>
                <a:gd name="T8" fmla="*/ 35 w 44"/>
                <a:gd name="T9" fmla="*/ 1 h 36"/>
                <a:gd name="T10" fmla="*/ 0 w 44"/>
                <a:gd name="T11" fmla="*/ 24 h 36"/>
                <a:gd name="T12" fmla="*/ 6 w 4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3" name="Freeform 32">
              <a:extLst>
                <a:ext uri="{FF2B5EF4-FFF2-40B4-BE49-F238E27FC236}">
                  <a16:creationId xmlns:a16="http://schemas.microsoft.com/office/drawing/2014/main" id="{06B31467-7D66-420E-AF6E-97F667B24C5A}"/>
                </a:ext>
              </a:extLst>
            </p:cNvPr>
            <p:cNvSpPr>
              <a:spLocks/>
            </p:cNvSpPr>
            <p:nvPr/>
          </p:nvSpPr>
          <p:spPr bwMode="auto">
            <a:xfrm>
              <a:off x="2212" y="425"/>
              <a:ext cx="2069" cy="853"/>
            </a:xfrm>
            <a:custGeom>
              <a:avLst/>
              <a:gdLst>
                <a:gd name="T0" fmla="*/ 699 w 774"/>
                <a:gd name="T1" fmla="*/ 312 h 319"/>
                <a:gd name="T2" fmla="*/ 711 w 774"/>
                <a:gd name="T3" fmla="*/ 319 h 319"/>
                <a:gd name="T4" fmla="*/ 774 w 774"/>
                <a:gd name="T5" fmla="*/ 219 h 319"/>
                <a:gd name="T6" fmla="*/ 762 w 774"/>
                <a:gd name="T7" fmla="*/ 212 h 319"/>
                <a:gd name="T8" fmla="*/ 0 w 774"/>
                <a:gd name="T9" fmla="*/ 11 h 319"/>
                <a:gd name="T10" fmla="*/ 0 w 774"/>
                <a:gd name="T11" fmla="*/ 129 h 319"/>
                <a:gd name="T12" fmla="*/ 699 w 774"/>
                <a:gd name="T13" fmla="*/ 312 h 319"/>
              </a:gdLst>
              <a:ahLst/>
              <a:cxnLst>
                <a:cxn ang="0">
                  <a:pos x="T0" y="T1"/>
                </a:cxn>
                <a:cxn ang="0">
                  <a:pos x="T2" y="T3"/>
                </a:cxn>
                <a:cxn ang="0">
                  <a:pos x="T4" y="T5"/>
                </a:cxn>
                <a:cxn ang="0">
                  <a:pos x="T6" y="T7"/>
                </a:cxn>
                <a:cxn ang="0">
                  <a:pos x="T8" y="T9"/>
                </a:cxn>
                <a:cxn ang="0">
                  <a:pos x="T10" y="T11"/>
                </a:cxn>
                <a:cxn ang="0">
                  <a:pos x="T12" y="T13"/>
                </a:cxn>
              </a:cxnLst>
              <a:rect l="0" t="0" r="r" b="b"/>
              <a:pathLst>
                <a:path w="774" h="319">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4" name="Freeform 33">
              <a:extLst>
                <a:ext uri="{FF2B5EF4-FFF2-40B4-BE49-F238E27FC236}">
                  <a16:creationId xmlns:a16="http://schemas.microsoft.com/office/drawing/2014/main" id="{70565F10-37C4-4EAC-98FB-FCD60B953A3A}"/>
                </a:ext>
              </a:extLst>
            </p:cNvPr>
            <p:cNvSpPr>
              <a:spLocks/>
            </p:cNvSpPr>
            <p:nvPr/>
          </p:nvSpPr>
          <p:spPr bwMode="auto">
            <a:xfrm>
              <a:off x="2212" y="864"/>
              <a:ext cx="762" cy="216"/>
            </a:xfrm>
            <a:custGeom>
              <a:avLst/>
              <a:gdLst>
                <a:gd name="T0" fmla="*/ 0 w 285"/>
                <a:gd name="T1" fmla="*/ 58 h 81"/>
                <a:gd name="T2" fmla="*/ 100 w 285"/>
                <a:gd name="T3" fmla="*/ 59 h 81"/>
                <a:gd name="T4" fmla="*/ 275 w 285"/>
                <a:gd name="T5" fmla="*/ 81 h 81"/>
                <a:gd name="T6" fmla="*/ 279 w 285"/>
                <a:gd name="T7" fmla="*/ 58 h 81"/>
                <a:gd name="T8" fmla="*/ 282 w 285"/>
                <a:gd name="T9" fmla="*/ 44 h 81"/>
                <a:gd name="T10" fmla="*/ 285 w 285"/>
                <a:gd name="T11" fmla="*/ 24 h 81"/>
                <a:gd name="T12" fmla="*/ 102 w 285"/>
                <a:gd name="T13" fmla="*/ 2 h 81"/>
                <a:gd name="T14" fmla="*/ 0 w 285"/>
                <a:gd name="T15" fmla="*/ 1 h 81"/>
                <a:gd name="T16" fmla="*/ 0 w 285"/>
                <a:gd name="T17" fmla="*/ 5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81">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5" name="Freeform 34">
              <a:extLst>
                <a:ext uri="{FF2B5EF4-FFF2-40B4-BE49-F238E27FC236}">
                  <a16:creationId xmlns:a16="http://schemas.microsoft.com/office/drawing/2014/main" id="{3A804D61-D773-4056-B189-042F56CA07FF}"/>
                </a:ext>
              </a:extLst>
            </p:cNvPr>
            <p:cNvSpPr>
              <a:spLocks/>
            </p:cNvSpPr>
            <p:nvPr/>
          </p:nvSpPr>
          <p:spPr bwMode="auto">
            <a:xfrm>
              <a:off x="4065" y="1273"/>
              <a:ext cx="898" cy="820"/>
            </a:xfrm>
            <a:custGeom>
              <a:avLst/>
              <a:gdLst>
                <a:gd name="T0" fmla="*/ 0 w 336"/>
                <a:gd name="T1" fmla="*/ 12 h 307"/>
                <a:gd name="T2" fmla="*/ 324 w 336"/>
                <a:gd name="T3" fmla="*/ 307 h 307"/>
                <a:gd name="T4" fmla="*/ 336 w 336"/>
                <a:gd name="T5" fmla="*/ 302 h 307"/>
                <a:gd name="T6" fmla="*/ 8 w 336"/>
                <a:gd name="T7" fmla="*/ 0 h 307"/>
                <a:gd name="T8" fmla="*/ 0 w 336"/>
                <a:gd name="T9" fmla="*/ 12 h 307"/>
              </a:gdLst>
              <a:ahLst/>
              <a:cxnLst>
                <a:cxn ang="0">
                  <a:pos x="T0" y="T1"/>
                </a:cxn>
                <a:cxn ang="0">
                  <a:pos x="T2" y="T3"/>
                </a:cxn>
                <a:cxn ang="0">
                  <a:pos x="T4" y="T5"/>
                </a:cxn>
                <a:cxn ang="0">
                  <a:pos x="T6" y="T7"/>
                </a:cxn>
                <a:cxn ang="0">
                  <a:pos x="T8" y="T9"/>
                </a:cxn>
              </a:cxnLst>
              <a:rect l="0" t="0" r="r" b="b"/>
              <a:pathLst>
                <a:path w="336" h="307">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6" name="Freeform 35">
              <a:extLst>
                <a:ext uri="{FF2B5EF4-FFF2-40B4-BE49-F238E27FC236}">
                  <a16:creationId xmlns:a16="http://schemas.microsoft.com/office/drawing/2014/main" id="{CEA0A51B-5E87-4A31-9F38-87F56C718CD1}"/>
                </a:ext>
              </a:extLst>
            </p:cNvPr>
            <p:cNvSpPr>
              <a:spLocks/>
            </p:cNvSpPr>
            <p:nvPr/>
          </p:nvSpPr>
          <p:spPr bwMode="auto">
            <a:xfrm>
              <a:off x="4693" y="2181"/>
              <a:ext cx="762" cy="1687"/>
            </a:xfrm>
            <a:custGeom>
              <a:avLst/>
              <a:gdLst>
                <a:gd name="T0" fmla="*/ 55 w 285"/>
                <a:gd name="T1" fmla="*/ 0 h 631"/>
                <a:gd name="T2" fmla="*/ 49 w 285"/>
                <a:gd name="T3" fmla="*/ 4 h 631"/>
                <a:gd name="T4" fmla="*/ 0 w 285"/>
                <a:gd name="T5" fmla="*/ 41 h 631"/>
                <a:gd name="T6" fmla="*/ 199 w 285"/>
                <a:gd name="T7" fmla="*/ 496 h 631"/>
                <a:gd name="T8" fmla="*/ 214 w 285"/>
                <a:gd name="T9" fmla="*/ 631 h 631"/>
                <a:gd name="T10" fmla="*/ 285 w 285"/>
                <a:gd name="T11" fmla="*/ 631 h 631"/>
                <a:gd name="T12" fmla="*/ 269 w 285"/>
                <a:gd name="T13" fmla="*/ 485 h 631"/>
                <a:gd name="T14" fmla="*/ 55 w 285"/>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631">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7" name="Freeform 36">
              <a:extLst>
                <a:ext uri="{FF2B5EF4-FFF2-40B4-BE49-F238E27FC236}">
                  <a16:creationId xmlns:a16="http://schemas.microsoft.com/office/drawing/2014/main" id="{85264820-CE4F-4356-BF5D-4BACEB547388}"/>
                </a:ext>
              </a:extLst>
            </p:cNvPr>
            <p:cNvSpPr>
              <a:spLocks/>
            </p:cNvSpPr>
            <p:nvPr/>
          </p:nvSpPr>
          <p:spPr bwMode="auto">
            <a:xfrm>
              <a:off x="2212" y="2112"/>
              <a:ext cx="2002" cy="1756"/>
            </a:xfrm>
            <a:custGeom>
              <a:avLst/>
              <a:gdLst>
                <a:gd name="T0" fmla="*/ 421 w 749"/>
                <a:gd name="T1" fmla="*/ 115 h 657"/>
                <a:gd name="T2" fmla="*/ 0 w 749"/>
                <a:gd name="T3" fmla="*/ 10 h 657"/>
                <a:gd name="T4" fmla="*/ 0 w 749"/>
                <a:gd name="T5" fmla="*/ 657 h 657"/>
                <a:gd name="T6" fmla="*/ 749 w 749"/>
                <a:gd name="T7" fmla="*/ 657 h 657"/>
                <a:gd name="T8" fmla="*/ 421 w 749"/>
                <a:gd name="T9" fmla="*/ 115 h 657"/>
              </a:gdLst>
              <a:ahLst/>
              <a:cxnLst>
                <a:cxn ang="0">
                  <a:pos x="T0" y="T1"/>
                </a:cxn>
                <a:cxn ang="0">
                  <a:pos x="T2" y="T3"/>
                </a:cxn>
                <a:cxn ang="0">
                  <a:pos x="T4" y="T5"/>
                </a:cxn>
                <a:cxn ang="0">
                  <a:pos x="T6" y="T7"/>
                </a:cxn>
                <a:cxn ang="0">
                  <a:pos x="T8" y="T9"/>
                </a:cxn>
              </a:cxnLst>
              <a:rect l="0" t="0" r="r" b="b"/>
              <a:pathLst>
                <a:path w="749" h="657">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sp>
        <p:nvSpPr>
          <p:cNvPr id="70" name="Rectangle: Top Corners Rounded 69">
            <a:extLst>
              <a:ext uri="{FF2B5EF4-FFF2-40B4-BE49-F238E27FC236}">
                <a16:creationId xmlns:a16="http://schemas.microsoft.com/office/drawing/2014/main" id="{C9E4430A-A3DE-4FEF-9B7A-EB95E4AFECC6}"/>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71" name="Slide Number Placeholder 5">
            <a:extLst>
              <a:ext uri="{FF2B5EF4-FFF2-40B4-BE49-F238E27FC236}">
                <a16:creationId xmlns:a16="http://schemas.microsoft.com/office/drawing/2014/main" id="{C7A1EDAC-E3F0-44E1-AD2B-D4C1AAF29554}"/>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C8E6EA7-2C78-44B2-AD10-3A8167C5EBAD}" type="slidenum">
              <a:rPr kumimoji="0" lang="en-ID" sz="1200" b="1" i="0" u="none" strike="noStrike" kern="1200" cap="none" spc="0" normalizeH="0" baseline="0" noProof="0" smtClean="0">
                <a:ln>
                  <a:noFill/>
                </a:ln>
                <a:solidFill>
                  <a:srgbClr val="F6F8F8"/>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D" sz="1200" b="1" i="0" u="none" strike="noStrike" kern="1200" cap="none" spc="0" normalizeH="0" baseline="0" noProof="0">
              <a:ln>
                <a:noFill/>
              </a:ln>
              <a:solidFill>
                <a:srgbClr val="F6F8F8"/>
              </a:solidFill>
              <a:effectLst/>
              <a:uLnTx/>
              <a:uFillTx/>
              <a:latin typeface="Montserrat"/>
              <a:ea typeface="+mn-ea"/>
              <a:cs typeface="+mn-cs"/>
            </a:endParaRPr>
          </a:p>
        </p:txBody>
      </p:sp>
      <p:sp>
        <p:nvSpPr>
          <p:cNvPr id="76" name="TextBox 75">
            <a:extLst>
              <a:ext uri="{FF2B5EF4-FFF2-40B4-BE49-F238E27FC236}">
                <a16:creationId xmlns:a16="http://schemas.microsoft.com/office/drawing/2014/main" id="{3771BE66-4556-4FBB-B78A-D271FA16E9B6}"/>
              </a:ext>
            </a:extLst>
          </p:cNvPr>
          <p:cNvSpPr txBox="1"/>
          <p:nvPr/>
        </p:nvSpPr>
        <p:spPr>
          <a:xfrm>
            <a:off x="896858" y="2954655"/>
            <a:ext cx="6407151" cy="1384995"/>
          </a:xfrm>
          <a:prstGeom prst="rect">
            <a:avLst/>
          </a:prstGeom>
          <a:noFill/>
        </p:spPr>
        <p:txBody>
          <a:bodyPr wrap="square" lIns="91440" tIns="45720" rIns="91440" bIns="45720" anchor="t">
            <a:spAutoFit/>
          </a:bodyPr>
          <a:lstStyle/>
          <a:p>
            <a:pPr marL="285750" indent="-285750">
              <a:buFont typeface="Arial"/>
              <a:buChar char="•"/>
              <a:defRPr/>
            </a:pPr>
            <a:r>
              <a:rPr kumimoji="0" lang="en-ID" sz="1400" b="0" i="0" u="none" strike="noStrike" kern="1200" cap="none" spc="0" normalizeH="0" baseline="0" noProof="0" dirty="0">
                <a:ln>
                  <a:noFill/>
                </a:ln>
                <a:solidFill>
                  <a:srgbClr val="2B2B2B"/>
                </a:solidFill>
                <a:effectLst/>
                <a:uLnTx/>
                <a:uFillTx/>
                <a:latin typeface="Montserrat"/>
                <a:ea typeface="+mn-lt"/>
                <a:cs typeface="+mn-lt"/>
              </a:rPr>
              <a:t>VIZIO </a:t>
            </a:r>
            <a:r>
              <a:rPr kumimoji="0" lang="en-US" sz="1400" b="0" i="0" u="none" strike="noStrike" kern="1200" cap="none" spc="0" normalizeH="0" baseline="0" noProof="0" dirty="0">
                <a:ln>
                  <a:noFill/>
                </a:ln>
                <a:solidFill>
                  <a:srgbClr val="2B2B2B"/>
                </a:solidFill>
                <a:effectLst/>
                <a:uLnTx/>
                <a:uFillTx/>
                <a:latin typeface="Montserrat"/>
                <a:ea typeface="+mn-lt"/>
                <a:cs typeface="+mn-lt"/>
              </a:rPr>
              <a:t>is a </a:t>
            </a:r>
            <a:r>
              <a:rPr lang="en-US" sz="1400" dirty="0">
                <a:solidFill>
                  <a:srgbClr val="2B2B2B"/>
                </a:solidFill>
                <a:latin typeface="Montserrat"/>
                <a:ea typeface="+mn-lt"/>
                <a:cs typeface="+mn-lt"/>
              </a:rPr>
              <a:t>boutique</a:t>
            </a:r>
            <a:r>
              <a:rPr kumimoji="0" lang="en-US" sz="1400" b="0" i="0" u="none" strike="noStrike" kern="1200" cap="none" spc="0" normalizeH="0" baseline="0" noProof="0" dirty="0">
                <a:ln>
                  <a:noFill/>
                </a:ln>
                <a:solidFill>
                  <a:srgbClr val="2B2B2B"/>
                </a:solidFill>
                <a:effectLst/>
                <a:uLnTx/>
                <a:uFillTx/>
                <a:latin typeface="Montserrat"/>
                <a:ea typeface="+mn-lt"/>
                <a:cs typeface="+mn-lt"/>
              </a:rPr>
              <a:t> AWS &amp; SAP solution provider </a:t>
            </a:r>
            <a:r>
              <a:rPr lang="en-US" sz="1400" dirty="0">
                <a:solidFill>
                  <a:srgbClr val="2B2B2B"/>
                </a:solidFill>
                <a:latin typeface="Montserrat"/>
                <a:ea typeface="+mn-lt"/>
                <a:cs typeface="+mn-lt"/>
              </a:rPr>
              <a:t>operating in Canada and the US.</a:t>
            </a:r>
            <a:endParaRPr lang="en-US" sz="1800" b="0" i="0" u="none" strike="noStrike" kern="1200" cap="none" spc="0" normalizeH="0" baseline="0" noProof="0" dirty="0">
              <a:ln>
                <a:noFill/>
              </a:ln>
              <a:solidFill>
                <a:srgbClr val="2B2B2B"/>
              </a:solidFill>
              <a:effectLst/>
              <a:uLnTx/>
              <a:uFillTx/>
              <a:latin typeface="Montserrat"/>
            </a:endParaRPr>
          </a:p>
          <a:p>
            <a:pPr marL="285750" marR="0" lvl="0" indent="-285750" algn="l" defTabSz="914400">
              <a:lnSpc>
                <a:spcPct val="100000"/>
              </a:lnSpc>
              <a:spcBef>
                <a:spcPts val="0"/>
              </a:spcBef>
              <a:spcAft>
                <a:spcPts val="0"/>
              </a:spcAft>
              <a:buClrTx/>
              <a:buSzTx/>
              <a:buFont typeface="Arial"/>
              <a:buChar char="•"/>
              <a:tabLst/>
              <a:defRPr/>
            </a:pPr>
            <a:endParaRPr lang="en-ID" sz="1400" b="0" i="0" u="none" strike="noStrike" kern="1200" cap="none" spc="0" normalizeH="0" baseline="0" noProof="0" dirty="0">
              <a:ln>
                <a:noFill/>
              </a:ln>
              <a:solidFill>
                <a:srgbClr val="2B2B2B"/>
              </a:solidFill>
              <a:effectLst/>
              <a:uLnTx/>
              <a:uFillTx/>
              <a:latin typeface="Montserrat"/>
              <a:ea typeface="+mn-lt"/>
              <a:cs typeface="+mn-lt"/>
            </a:endParaRPr>
          </a:p>
          <a:p>
            <a:pPr marL="285750" indent="-285750">
              <a:buFont typeface="Arial"/>
              <a:buChar char="•"/>
              <a:defRPr/>
            </a:pPr>
            <a:r>
              <a:rPr kumimoji="0" lang="en-ID" sz="1400" b="0" i="0" u="none" strike="noStrike" kern="1200" cap="none" spc="0" normalizeH="0" baseline="0" noProof="0" dirty="0">
                <a:ln>
                  <a:noFill/>
                </a:ln>
                <a:solidFill>
                  <a:srgbClr val="2B2B2B"/>
                </a:solidFill>
                <a:effectLst/>
                <a:uLnTx/>
                <a:uFillTx/>
                <a:latin typeface="Montserrat"/>
                <a:ea typeface="+mn-lt"/>
                <a:cs typeface="+mn-lt"/>
              </a:rPr>
              <a:t>We specialise in </a:t>
            </a:r>
            <a:r>
              <a:rPr lang="en-ID" sz="1400" dirty="0">
                <a:solidFill>
                  <a:srgbClr val="2B2B2B"/>
                </a:solidFill>
                <a:latin typeface="Montserrat"/>
                <a:ea typeface="+mn-lt"/>
                <a:cs typeface="+mn-lt"/>
              </a:rPr>
              <a:t>BI, Analytics &amp; FP&amp;A solutions.</a:t>
            </a:r>
            <a:endParaRPr lang="en-ID" sz="1400" b="0" i="0" u="none" strike="noStrike" kern="1200" cap="none" spc="0" normalizeH="0" baseline="0" noProof="0" dirty="0">
              <a:ln>
                <a:noFill/>
              </a:ln>
              <a:solidFill>
                <a:srgbClr val="2B2B2B"/>
              </a:solidFill>
              <a:effectLst/>
              <a:uLnTx/>
              <a:uFillTx/>
              <a:latin typeface="Montserrat"/>
              <a:ea typeface="+mn-lt"/>
              <a:cs typeface="+mn-lt"/>
            </a:endParaRPr>
          </a:p>
          <a:p>
            <a:pPr marL="285750" indent="-285750">
              <a:buFont typeface="Arial"/>
              <a:buChar char="•"/>
              <a:defRPr/>
            </a:pPr>
            <a:endParaRPr lang="en-ID" sz="1400" dirty="0">
              <a:solidFill>
                <a:srgbClr val="2B2B2B"/>
              </a:solidFill>
              <a:latin typeface="Montserrat"/>
              <a:ea typeface="+mn-lt"/>
              <a:cs typeface="+mn-lt"/>
            </a:endParaRPr>
          </a:p>
          <a:p>
            <a:pPr marL="285750" indent="-285750">
              <a:buFont typeface="Arial"/>
              <a:buChar char="•"/>
              <a:defRPr/>
            </a:pPr>
            <a:r>
              <a:rPr lang="en-ID" sz="1400" dirty="0">
                <a:solidFill>
                  <a:srgbClr val="2B2B2B"/>
                </a:solidFill>
                <a:latin typeface="Montserrat"/>
                <a:ea typeface="+mn-lt"/>
                <a:cs typeface="+mn-lt"/>
              </a:rPr>
              <a:t>We offer End-2-End implementation &amp; support services.</a:t>
            </a:r>
            <a:endParaRPr lang="en-ID" sz="1400" b="0" i="0" u="none" strike="noStrike" kern="1200" cap="none" spc="0" normalizeH="0" baseline="0" noProof="0" dirty="0">
              <a:ln>
                <a:noFill/>
              </a:ln>
              <a:solidFill>
                <a:srgbClr val="2B2B2B"/>
              </a:solidFill>
              <a:effectLst/>
              <a:uLnTx/>
              <a:uFillTx/>
              <a:latin typeface="Montserrat"/>
              <a:ea typeface="+mn-lt"/>
              <a:cs typeface="+mn-lt"/>
            </a:endParaRPr>
          </a:p>
        </p:txBody>
      </p:sp>
      <p:grpSp>
        <p:nvGrpSpPr>
          <p:cNvPr id="78" name="Group 77">
            <a:extLst>
              <a:ext uri="{FF2B5EF4-FFF2-40B4-BE49-F238E27FC236}">
                <a16:creationId xmlns:a16="http://schemas.microsoft.com/office/drawing/2014/main" id="{96078F9A-CCAE-4F0F-BA6C-1988BC0C7E18}"/>
              </a:ext>
            </a:extLst>
          </p:cNvPr>
          <p:cNvGrpSpPr/>
          <p:nvPr/>
        </p:nvGrpSpPr>
        <p:grpSpPr>
          <a:xfrm>
            <a:off x="1053921" y="5195110"/>
            <a:ext cx="1910259" cy="357163"/>
            <a:chOff x="1645536" y="5152939"/>
            <a:chExt cx="3580514" cy="914400"/>
          </a:xfrm>
        </p:grpSpPr>
        <p:sp>
          <p:nvSpPr>
            <p:cNvPr id="79" name="Rectangle: Rounded Corners 78">
              <a:extLst>
                <a:ext uri="{FF2B5EF4-FFF2-40B4-BE49-F238E27FC236}">
                  <a16:creationId xmlns:a16="http://schemas.microsoft.com/office/drawing/2014/main" id="{52A227B5-AD98-4D10-B47A-AC49DE06B8C2}"/>
                </a:ext>
              </a:extLst>
            </p:cNvPr>
            <p:cNvSpPr/>
            <p:nvPr/>
          </p:nvSpPr>
          <p:spPr>
            <a:xfrm>
              <a:off x="1645536" y="5152939"/>
              <a:ext cx="3580514" cy="914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80" name="TextBox 79">
              <a:extLst>
                <a:ext uri="{FF2B5EF4-FFF2-40B4-BE49-F238E27FC236}">
                  <a16:creationId xmlns:a16="http://schemas.microsoft.com/office/drawing/2014/main" id="{998F7CF1-C828-4581-93B2-30C2668A519B}"/>
                </a:ext>
              </a:extLst>
            </p:cNvPr>
            <p:cNvSpPr txBox="1"/>
            <p:nvPr/>
          </p:nvSpPr>
          <p:spPr>
            <a:xfrm>
              <a:off x="1645536" y="5216160"/>
              <a:ext cx="3580514" cy="787963"/>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200" normalizeH="0" baseline="0" noProof="0">
                  <a:ln>
                    <a:noFill/>
                  </a:ln>
                  <a:solidFill>
                    <a:srgbClr val="F6F8F8"/>
                  </a:solidFill>
                  <a:effectLst/>
                  <a:uLnTx/>
                  <a:uFillTx/>
                  <a:latin typeface="Montserrat"/>
                  <a:ea typeface="+mn-ea"/>
                  <a:cs typeface="+mn-cs"/>
                  <a:hlinkClick r:id="rId3">
                    <a:extLst>
                      <a:ext uri="{A12FA001-AC4F-418D-AE19-62706E023703}">
                        <ahyp:hlinkClr xmlns:ahyp="http://schemas.microsoft.com/office/drawing/2018/hyperlinkcolor" val="tx"/>
                      </a:ext>
                    </a:extLst>
                  </a:hlinkClick>
                </a:rPr>
                <a:t>Know more</a:t>
              </a:r>
              <a:endParaRPr kumimoji="0" lang="en-US" sz="1800" b="0" i="0" u="none" strike="noStrike" kern="1200" cap="none" spc="0" normalizeH="0" baseline="0" noProof="0">
                <a:ln>
                  <a:noFill/>
                </a:ln>
                <a:solidFill>
                  <a:srgbClr val="F6F8F8"/>
                </a:solidFill>
                <a:effectLst/>
                <a:uLnTx/>
                <a:uFillTx/>
                <a:latin typeface="Montserrat"/>
                <a:ea typeface="+mn-ea"/>
                <a:cs typeface="+mn-cs"/>
              </a:endParaRPr>
            </a:p>
          </p:txBody>
        </p:sp>
      </p:grpSp>
      <p:sp>
        <p:nvSpPr>
          <p:cNvPr id="83" name="Text Placeholder 82">
            <a:extLst>
              <a:ext uri="{FF2B5EF4-FFF2-40B4-BE49-F238E27FC236}">
                <a16:creationId xmlns:a16="http://schemas.microsoft.com/office/drawing/2014/main" id="{2F7253C6-4D2E-43F4-B4D5-3E25A337C9A9}"/>
              </a:ext>
            </a:extLst>
          </p:cNvPr>
          <p:cNvSpPr>
            <a:spLocks noGrp="1"/>
          </p:cNvSpPr>
          <p:nvPr>
            <p:ph type="body" sz="quarter" idx="11"/>
          </p:nvPr>
        </p:nvSpPr>
        <p:spPr>
          <a:xfrm>
            <a:off x="880601" y="1765326"/>
            <a:ext cx="8434798" cy="630352"/>
          </a:xfrm>
        </p:spPr>
        <p:txBody>
          <a:bodyPr lIns="91440" tIns="45720" rIns="91440" bIns="45720" anchor="b"/>
          <a:lstStyle/>
          <a:p>
            <a:endParaRPr lang="en-US" sz="3600" dirty="0"/>
          </a:p>
          <a:p>
            <a:r>
              <a:rPr lang="en-US" sz="3600" dirty="0"/>
              <a:t>Welcome to VIZIO</a:t>
            </a:r>
            <a:endParaRPr lang="en-US" dirty="0"/>
          </a:p>
        </p:txBody>
      </p:sp>
    </p:spTree>
    <p:extLst>
      <p:ext uri="{BB962C8B-B14F-4D97-AF65-F5344CB8AC3E}">
        <p14:creationId xmlns:p14="http://schemas.microsoft.com/office/powerpoint/2010/main" val="38009782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3534" y="584079"/>
            <a:ext cx="11971347" cy="1036475"/>
          </a:xfrm>
        </p:spPr>
        <p:txBody>
          <a:bodyPr lIns="91440" tIns="45720" rIns="91440" bIns="45720" anchor="ctr"/>
          <a:lstStyle/>
          <a:p>
            <a:pPr algn="ctr"/>
            <a:r>
              <a:rPr lang="en-US" sz="3000" dirty="0">
                <a:solidFill>
                  <a:schemeClr val="bg2"/>
                </a:solidFill>
              </a:rPr>
              <a:t>VIZIO’s Technology Services</a:t>
            </a:r>
            <a:endParaRPr lang="en-US" dirty="0">
              <a:solidFill>
                <a:schemeClr val="bg2"/>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pSp>
        <p:nvGrpSpPr>
          <p:cNvPr id="2" name="Content Placeholder 3">
            <a:extLst>
              <a:ext uri="{FF2B5EF4-FFF2-40B4-BE49-F238E27FC236}">
                <a16:creationId xmlns:a16="http://schemas.microsoft.com/office/drawing/2014/main" id="{B0250270-8995-FB4A-D72F-A6B15BCD95BA}"/>
              </a:ext>
            </a:extLst>
          </p:cNvPr>
          <p:cNvGrpSpPr/>
          <p:nvPr/>
        </p:nvGrpSpPr>
        <p:grpSpPr>
          <a:xfrm>
            <a:off x="159029" y="2349141"/>
            <a:ext cx="11873942" cy="3851634"/>
            <a:chOff x="419993" y="2811633"/>
            <a:chExt cx="11555884" cy="2604138"/>
          </a:xfrm>
        </p:grpSpPr>
        <p:sp>
          <p:nvSpPr>
            <p:cNvPr id="4" name="Freeform: Shape 3">
              <a:extLst>
                <a:ext uri="{FF2B5EF4-FFF2-40B4-BE49-F238E27FC236}">
                  <a16:creationId xmlns:a16="http://schemas.microsoft.com/office/drawing/2014/main" id="{6112C048-C316-4596-A56B-59CC49CBE6F0}"/>
                </a:ext>
              </a:extLst>
            </p:cNvPr>
            <p:cNvSpPr/>
            <p:nvPr/>
          </p:nvSpPr>
          <p:spPr>
            <a:xfrm>
              <a:off x="7008025" y="2811633"/>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E7E6E6"/>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100" b="1" i="0" u="none" strike="noStrike" kern="1200" cap="none" spc="0" baseline="0" dirty="0">
                  <a:solidFill>
                    <a:srgbClr val="000000"/>
                  </a:solidFill>
                  <a:uFillTx/>
                  <a:latin typeface="Calibri"/>
                </a:rPr>
                <a:t>Our Services</a:t>
              </a:r>
            </a:p>
          </p:txBody>
        </p:sp>
        <p:sp>
          <p:nvSpPr>
            <p:cNvPr id="5" name="Freeform: Shape 4">
              <a:extLst>
                <a:ext uri="{FF2B5EF4-FFF2-40B4-BE49-F238E27FC236}">
                  <a16:creationId xmlns:a16="http://schemas.microsoft.com/office/drawing/2014/main" id="{24B0E7EA-2BF0-B93A-C655-26EE49B5E27F}"/>
                </a:ext>
              </a:extLst>
            </p:cNvPr>
            <p:cNvSpPr/>
            <p:nvPr/>
          </p:nvSpPr>
          <p:spPr>
            <a:xfrm>
              <a:off x="4466770" y="3206206"/>
              <a:ext cx="2837182" cy="157825"/>
            </a:xfrm>
            <a:custGeom>
              <a:avLst/>
              <a:gdLst>
                <a:gd name="f0" fmla="val w"/>
                <a:gd name="f1" fmla="val h"/>
                <a:gd name="f2" fmla="val 0"/>
                <a:gd name="f3" fmla="val 2837184"/>
                <a:gd name="f4" fmla="val 157826"/>
                <a:gd name="f5" fmla="val 78913"/>
                <a:gd name="f6" fmla="*/ f0 1 2837184"/>
                <a:gd name="f7" fmla="*/ f1 1 157826"/>
                <a:gd name="f8" fmla="+- f4 0 f2"/>
                <a:gd name="f9" fmla="+- f3 0 f2"/>
                <a:gd name="f10" fmla="*/ f9 1 2837184"/>
                <a:gd name="f11" fmla="*/ f8 1 157826"/>
                <a:gd name="f12" fmla="*/ 0 1 f10"/>
                <a:gd name="f13" fmla="*/ 2837184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2837184" h="157826">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6" name="Freeform: Shape 5">
              <a:extLst>
                <a:ext uri="{FF2B5EF4-FFF2-40B4-BE49-F238E27FC236}">
                  <a16:creationId xmlns:a16="http://schemas.microsoft.com/office/drawing/2014/main" id="{A1D7633C-DDD0-D678-B3CC-38F7EAD7454D}"/>
                </a:ext>
              </a:extLst>
            </p:cNvPr>
            <p:cNvSpPr/>
            <p:nvPr/>
          </p:nvSpPr>
          <p:spPr>
            <a:xfrm>
              <a:off x="4170843" y="3364031"/>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4472C4"/>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100" b="1" i="0" u="none" strike="noStrike" kern="1200" cap="none" spc="0" baseline="0" dirty="0">
                  <a:solidFill>
                    <a:schemeClr val="bg1"/>
                  </a:solidFill>
                  <a:uFillTx/>
                  <a:latin typeface="Calibri"/>
                </a:rPr>
                <a:t>SAP</a:t>
              </a:r>
            </a:p>
          </p:txBody>
        </p:sp>
        <p:sp>
          <p:nvSpPr>
            <p:cNvPr id="7" name="Freeform: Shape 6">
              <a:extLst>
                <a:ext uri="{FF2B5EF4-FFF2-40B4-BE49-F238E27FC236}">
                  <a16:creationId xmlns:a16="http://schemas.microsoft.com/office/drawing/2014/main" id="{F560907B-8882-9104-334B-C62E816BE07B}"/>
                </a:ext>
              </a:extLst>
            </p:cNvPr>
            <p:cNvSpPr/>
            <p:nvPr/>
          </p:nvSpPr>
          <p:spPr>
            <a:xfrm>
              <a:off x="1100617" y="3758594"/>
              <a:ext cx="3366153" cy="157825"/>
            </a:xfrm>
            <a:custGeom>
              <a:avLst/>
              <a:gdLst>
                <a:gd name="f0" fmla="val w"/>
                <a:gd name="f1" fmla="val h"/>
                <a:gd name="f2" fmla="val 0"/>
                <a:gd name="f3" fmla="val 3366151"/>
                <a:gd name="f4" fmla="val 157826"/>
                <a:gd name="f5" fmla="val 78913"/>
                <a:gd name="f6" fmla="*/ f0 1 3366151"/>
                <a:gd name="f7" fmla="*/ f1 1 157826"/>
                <a:gd name="f8" fmla="+- f4 0 f2"/>
                <a:gd name="f9" fmla="+- f3 0 f2"/>
                <a:gd name="f10" fmla="*/ f9 1 3366151"/>
                <a:gd name="f11" fmla="*/ f8 1 157826"/>
                <a:gd name="f12" fmla="*/ 0 1 f10"/>
                <a:gd name="f13" fmla="*/ 3366151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366151"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8" name="Freeform: Shape 7">
              <a:extLst>
                <a:ext uri="{FF2B5EF4-FFF2-40B4-BE49-F238E27FC236}">
                  <a16:creationId xmlns:a16="http://schemas.microsoft.com/office/drawing/2014/main" id="{33995152-027B-D87A-389B-30574A6A4C8C}"/>
                </a:ext>
              </a:extLst>
            </p:cNvPr>
            <p:cNvSpPr/>
            <p:nvPr/>
          </p:nvSpPr>
          <p:spPr>
            <a:xfrm>
              <a:off x="804690"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100" b="1" i="0" u="none" strike="noStrike" kern="1200" cap="none" spc="0" baseline="0" dirty="0">
                  <a:solidFill>
                    <a:srgbClr val="000000"/>
                  </a:solidFill>
                  <a:uFillTx/>
                  <a:latin typeface="Calibri"/>
                </a:rPr>
                <a:t>On Premise</a:t>
              </a:r>
            </a:p>
          </p:txBody>
        </p:sp>
        <p:sp>
          <p:nvSpPr>
            <p:cNvPr id="9" name="Freeform: Shape 8">
              <a:extLst>
                <a:ext uri="{FF2B5EF4-FFF2-40B4-BE49-F238E27FC236}">
                  <a16:creationId xmlns:a16="http://schemas.microsoft.com/office/drawing/2014/main" id="{DDB19A8B-227A-939C-9138-4C6583456CE1}"/>
                </a:ext>
              </a:extLst>
            </p:cNvPr>
            <p:cNvSpPr/>
            <p:nvPr/>
          </p:nvSpPr>
          <p:spPr>
            <a:xfrm>
              <a:off x="715911" y="4310993"/>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10" name="Freeform: Shape 9">
              <a:extLst>
                <a:ext uri="{FF2B5EF4-FFF2-40B4-BE49-F238E27FC236}">
                  <a16:creationId xmlns:a16="http://schemas.microsoft.com/office/drawing/2014/main" id="{558D5B78-8DA3-DB45-D0FA-3F490D7C32FF}"/>
                </a:ext>
              </a:extLst>
            </p:cNvPr>
            <p:cNvSpPr/>
            <p:nvPr/>
          </p:nvSpPr>
          <p:spPr>
            <a:xfrm>
              <a:off x="419993"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BW/4HANA</a:t>
              </a:r>
            </a:p>
          </p:txBody>
        </p:sp>
        <p:sp>
          <p:nvSpPr>
            <p:cNvPr id="11" name="Freeform: Shape 10">
              <a:extLst>
                <a:ext uri="{FF2B5EF4-FFF2-40B4-BE49-F238E27FC236}">
                  <a16:creationId xmlns:a16="http://schemas.microsoft.com/office/drawing/2014/main" id="{8C351FA8-F931-1DE6-4F09-931CF09889A6}"/>
                </a:ext>
              </a:extLst>
            </p:cNvPr>
            <p:cNvSpPr/>
            <p:nvPr/>
          </p:nvSpPr>
          <p:spPr>
            <a:xfrm>
              <a:off x="1100617" y="4310993"/>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2" name="Freeform: Shape 11">
              <a:extLst>
                <a:ext uri="{FF2B5EF4-FFF2-40B4-BE49-F238E27FC236}">
                  <a16:creationId xmlns:a16="http://schemas.microsoft.com/office/drawing/2014/main" id="{39981A68-E742-9A2C-6E98-F878372DAB29}"/>
                </a:ext>
              </a:extLst>
            </p:cNvPr>
            <p:cNvSpPr/>
            <p:nvPr/>
          </p:nvSpPr>
          <p:spPr>
            <a:xfrm>
              <a:off x="1189396"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BPC (E)</a:t>
              </a:r>
            </a:p>
          </p:txBody>
        </p:sp>
        <p:sp>
          <p:nvSpPr>
            <p:cNvPr id="13" name="Freeform: Shape 12">
              <a:extLst>
                <a:ext uri="{FF2B5EF4-FFF2-40B4-BE49-F238E27FC236}">
                  <a16:creationId xmlns:a16="http://schemas.microsoft.com/office/drawing/2014/main" id="{0575772C-4DDA-9A1F-9112-1CABFFCB243F}"/>
                </a:ext>
              </a:extLst>
            </p:cNvPr>
            <p:cNvSpPr/>
            <p:nvPr/>
          </p:nvSpPr>
          <p:spPr>
            <a:xfrm>
              <a:off x="3408837" y="3758595"/>
              <a:ext cx="1057933" cy="157825"/>
            </a:xfrm>
            <a:custGeom>
              <a:avLst/>
              <a:gdLst>
                <a:gd name="f0" fmla="val w"/>
                <a:gd name="f1" fmla="val h"/>
                <a:gd name="f2" fmla="val 0"/>
                <a:gd name="f3" fmla="val 1057933"/>
                <a:gd name="f4" fmla="val 157826"/>
                <a:gd name="f5" fmla="val 78913"/>
                <a:gd name="f6" fmla="*/ f0 1 1057933"/>
                <a:gd name="f7" fmla="*/ f1 1 157826"/>
                <a:gd name="f8" fmla="+- f4 0 f2"/>
                <a:gd name="f9" fmla="+- f3 0 f2"/>
                <a:gd name="f10" fmla="*/ f9 1 1057933"/>
                <a:gd name="f11" fmla="*/ f8 1 157826"/>
                <a:gd name="f12" fmla="*/ 0 1 f10"/>
                <a:gd name="f13" fmla="*/ 1057933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057933"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14" name="Freeform: Shape 13">
              <a:extLst>
                <a:ext uri="{FF2B5EF4-FFF2-40B4-BE49-F238E27FC236}">
                  <a16:creationId xmlns:a16="http://schemas.microsoft.com/office/drawing/2014/main" id="{88934DA2-F898-D15B-50A7-AA5CCC5A262D}"/>
                </a:ext>
              </a:extLst>
            </p:cNvPr>
            <p:cNvSpPr/>
            <p:nvPr/>
          </p:nvSpPr>
          <p:spPr>
            <a:xfrm>
              <a:off x="3112910"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800" b="1" i="0" u="none" strike="noStrike" kern="1200" cap="none" spc="0" baseline="0" dirty="0">
                  <a:solidFill>
                    <a:srgbClr val="000000"/>
                  </a:solidFill>
                  <a:uFillTx/>
                  <a:latin typeface="Calibri"/>
                </a:rPr>
                <a:t>Business Technology Platform (BTP)</a:t>
              </a:r>
            </a:p>
          </p:txBody>
        </p:sp>
        <p:sp>
          <p:nvSpPr>
            <p:cNvPr id="15" name="Freeform: Shape 14">
              <a:extLst>
                <a:ext uri="{FF2B5EF4-FFF2-40B4-BE49-F238E27FC236}">
                  <a16:creationId xmlns:a16="http://schemas.microsoft.com/office/drawing/2014/main" id="{2633FC07-E864-7937-6536-81CC11C20733}"/>
                </a:ext>
              </a:extLst>
            </p:cNvPr>
            <p:cNvSpPr/>
            <p:nvPr/>
          </p:nvSpPr>
          <p:spPr>
            <a:xfrm>
              <a:off x="2254727" y="4310993"/>
              <a:ext cx="1154109" cy="157825"/>
            </a:xfrm>
            <a:custGeom>
              <a:avLst/>
              <a:gdLst>
                <a:gd name="f0" fmla="val w"/>
                <a:gd name="f1" fmla="val h"/>
                <a:gd name="f2" fmla="val 0"/>
                <a:gd name="f3" fmla="val 1154108"/>
                <a:gd name="f4" fmla="val 157826"/>
                <a:gd name="f5" fmla="val 78913"/>
                <a:gd name="f6" fmla="*/ f0 1 1154108"/>
                <a:gd name="f7" fmla="*/ f1 1 157826"/>
                <a:gd name="f8" fmla="+- f4 0 f2"/>
                <a:gd name="f9" fmla="+- f3 0 f2"/>
                <a:gd name="f10" fmla="*/ f9 1 1154108"/>
                <a:gd name="f11" fmla="*/ f8 1 157826"/>
                <a:gd name="f12" fmla="*/ 0 1 f10"/>
                <a:gd name="f13" fmla="*/ 1154108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154108"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6" name="Freeform: Shape 15">
              <a:extLst>
                <a:ext uri="{FF2B5EF4-FFF2-40B4-BE49-F238E27FC236}">
                  <a16:creationId xmlns:a16="http://schemas.microsoft.com/office/drawing/2014/main" id="{CBE0988C-0154-D517-5BF5-D668C09670AE}"/>
                </a:ext>
              </a:extLst>
            </p:cNvPr>
            <p:cNvSpPr/>
            <p:nvPr/>
          </p:nvSpPr>
          <p:spPr>
            <a:xfrm>
              <a:off x="1958800"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SAP Analytics Cloud</a:t>
              </a:r>
            </a:p>
          </p:txBody>
        </p:sp>
        <p:sp>
          <p:nvSpPr>
            <p:cNvPr id="17" name="Freeform: Shape 16">
              <a:extLst>
                <a:ext uri="{FF2B5EF4-FFF2-40B4-BE49-F238E27FC236}">
                  <a16:creationId xmlns:a16="http://schemas.microsoft.com/office/drawing/2014/main" id="{647D1149-2EFB-1629-0ED4-C004C3A5E9EE}"/>
                </a:ext>
              </a:extLst>
            </p:cNvPr>
            <p:cNvSpPr/>
            <p:nvPr/>
          </p:nvSpPr>
          <p:spPr>
            <a:xfrm>
              <a:off x="3024131" y="4310993"/>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18" name="Freeform: Shape 17">
              <a:extLst>
                <a:ext uri="{FF2B5EF4-FFF2-40B4-BE49-F238E27FC236}">
                  <a16:creationId xmlns:a16="http://schemas.microsoft.com/office/drawing/2014/main" id="{3CE4B5D1-A54A-FDAF-9181-2561CFD42044}"/>
                </a:ext>
              </a:extLst>
            </p:cNvPr>
            <p:cNvSpPr/>
            <p:nvPr/>
          </p:nvSpPr>
          <p:spPr>
            <a:xfrm>
              <a:off x="2728203"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SAP Datasphere</a:t>
              </a:r>
            </a:p>
          </p:txBody>
        </p:sp>
        <p:sp>
          <p:nvSpPr>
            <p:cNvPr id="19" name="Freeform: Shape 18">
              <a:extLst>
                <a:ext uri="{FF2B5EF4-FFF2-40B4-BE49-F238E27FC236}">
                  <a16:creationId xmlns:a16="http://schemas.microsoft.com/office/drawing/2014/main" id="{147752EF-B4ED-879E-9056-109A168EBF9F}"/>
                </a:ext>
              </a:extLst>
            </p:cNvPr>
            <p:cNvSpPr/>
            <p:nvPr/>
          </p:nvSpPr>
          <p:spPr>
            <a:xfrm>
              <a:off x="3408837" y="4310993"/>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20" name="Freeform: Shape 19">
              <a:extLst>
                <a:ext uri="{FF2B5EF4-FFF2-40B4-BE49-F238E27FC236}">
                  <a16:creationId xmlns:a16="http://schemas.microsoft.com/office/drawing/2014/main" id="{A9B52C0B-6D40-124D-BB35-1657875266C6}"/>
                </a:ext>
              </a:extLst>
            </p:cNvPr>
            <p:cNvSpPr/>
            <p:nvPr/>
          </p:nvSpPr>
          <p:spPr>
            <a:xfrm>
              <a:off x="3497616"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HANA Cloud</a:t>
              </a:r>
            </a:p>
          </p:txBody>
        </p:sp>
        <p:sp>
          <p:nvSpPr>
            <p:cNvPr id="21" name="Freeform: Shape 20">
              <a:extLst>
                <a:ext uri="{FF2B5EF4-FFF2-40B4-BE49-F238E27FC236}">
                  <a16:creationId xmlns:a16="http://schemas.microsoft.com/office/drawing/2014/main" id="{4D94D815-AF98-532D-D1DF-549A6E2EBF50}"/>
                </a:ext>
              </a:extLst>
            </p:cNvPr>
            <p:cNvSpPr/>
            <p:nvPr/>
          </p:nvSpPr>
          <p:spPr>
            <a:xfrm>
              <a:off x="3408833" y="4310993"/>
              <a:ext cx="1154109" cy="157825"/>
            </a:xfrm>
            <a:custGeom>
              <a:avLst/>
              <a:gdLst>
                <a:gd name="f0" fmla="val w"/>
                <a:gd name="f1" fmla="val h"/>
                <a:gd name="f2" fmla="val 0"/>
                <a:gd name="f3" fmla="val 1154108"/>
                <a:gd name="f4" fmla="val 157826"/>
                <a:gd name="f5" fmla="val 78913"/>
                <a:gd name="f6" fmla="*/ f0 1 1154108"/>
                <a:gd name="f7" fmla="*/ f1 1 157826"/>
                <a:gd name="f8" fmla="+- f4 0 f2"/>
                <a:gd name="f9" fmla="+- f3 0 f2"/>
                <a:gd name="f10" fmla="*/ f9 1 1154108"/>
                <a:gd name="f11" fmla="*/ f8 1 157826"/>
                <a:gd name="f12" fmla="*/ 0 1 f10"/>
                <a:gd name="f13" fmla="*/ 1154108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154108"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22" name="Freeform: Shape 21">
              <a:extLst>
                <a:ext uri="{FF2B5EF4-FFF2-40B4-BE49-F238E27FC236}">
                  <a16:creationId xmlns:a16="http://schemas.microsoft.com/office/drawing/2014/main" id="{A99F90EE-4751-CB97-F88B-8628DE767F0A}"/>
                </a:ext>
              </a:extLst>
            </p:cNvPr>
            <p:cNvSpPr/>
            <p:nvPr/>
          </p:nvSpPr>
          <p:spPr>
            <a:xfrm>
              <a:off x="4267020"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Set Up &amp; Configuration</a:t>
              </a:r>
            </a:p>
          </p:txBody>
        </p:sp>
        <p:sp>
          <p:nvSpPr>
            <p:cNvPr id="23" name="Freeform: Shape 22">
              <a:extLst>
                <a:ext uri="{FF2B5EF4-FFF2-40B4-BE49-F238E27FC236}">
                  <a16:creationId xmlns:a16="http://schemas.microsoft.com/office/drawing/2014/main" id="{B8DE8F3A-44E5-930D-7EEB-28ED3E304448}"/>
                </a:ext>
              </a:extLst>
            </p:cNvPr>
            <p:cNvSpPr/>
            <p:nvPr/>
          </p:nvSpPr>
          <p:spPr>
            <a:xfrm>
              <a:off x="4466770" y="3758595"/>
              <a:ext cx="3366153" cy="157825"/>
            </a:xfrm>
            <a:custGeom>
              <a:avLst/>
              <a:gdLst>
                <a:gd name="f0" fmla="val w"/>
                <a:gd name="f1" fmla="val h"/>
                <a:gd name="f2" fmla="val 0"/>
                <a:gd name="f3" fmla="val 3366151"/>
                <a:gd name="f4" fmla="val 157826"/>
                <a:gd name="f5" fmla="val 78913"/>
                <a:gd name="f6" fmla="*/ f0 1 3366151"/>
                <a:gd name="f7" fmla="*/ f1 1 157826"/>
                <a:gd name="f8" fmla="+- f4 0 f2"/>
                <a:gd name="f9" fmla="+- f3 0 f2"/>
                <a:gd name="f10" fmla="*/ f9 1 3366151"/>
                <a:gd name="f11" fmla="*/ f8 1 157826"/>
                <a:gd name="f12" fmla="*/ 0 1 f10"/>
                <a:gd name="f13" fmla="*/ 3366151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366151"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24" name="Freeform: Shape 23">
              <a:extLst>
                <a:ext uri="{FF2B5EF4-FFF2-40B4-BE49-F238E27FC236}">
                  <a16:creationId xmlns:a16="http://schemas.microsoft.com/office/drawing/2014/main" id="{C9AFC0CD-A3CB-B924-B217-7B998D740696}"/>
                </a:ext>
              </a:extLst>
            </p:cNvPr>
            <p:cNvSpPr/>
            <p:nvPr/>
          </p:nvSpPr>
          <p:spPr>
            <a:xfrm>
              <a:off x="7536996"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800" b="1" i="0" u="none" strike="noStrike" kern="1200" cap="none" spc="0" baseline="0" dirty="0">
                  <a:solidFill>
                    <a:srgbClr val="000000"/>
                  </a:solidFill>
                  <a:uFillTx/>
                  <a:latin typeface="Calibri"/>
                </a:rPr>
                <a:t>Accelerators</a:t>
              </a:r>
            </a:p>
          </p:txBody>
        </p:sp>
        <p:sp>
          <p:nvSpPr>
            <p:cNvPr id="25" name="Freeform: Shape 24">
              <a:extLst>
                <a:ext uri="{FF2B5EF4-FFF2-40B4-BE49-F238E27FC236}">
                  <a16:creationId xmlns:a16="http://schemas.microsoft.com/office/drawing/2014/main" id="{80B39120-E6A2-59A9-2DC1-184062F52236}"/>
                </a:ext>
              </a:extLst>
            </p:cNvPr>
            <p:cNvSpPr/>
            <p:nvPr/>
          </p:nvSpPr>
          <p:spPr>
            <a:xfrm>
              <a:off x="6101750" y="4310983"/>
              <a:ext cx="1731160" cy="157825"/>
            </a:xfrm>
            <a:custGeom>
              <a:avLst/>
              <a:gdLst>
                <a:gd name="f0" fmla="val w"/>
                <a:gd name="f1" fmla="val h"/>
                <a:gd name="f2" fmla="val 0"/>
                <a:gd name="f3" fmla="val 1731163"/>
                <a:gd name="f4" fmla="val 157826"/>
                <a:gd name="f5" fmla="val 78913"/>
                <a:gd name="f6" fmla="*/ f0 1 1731163"/>
                <a:gd name="f7" fmla="*/ f1 1 157826"/>
                <a:gd name="f8" fmla="+- f4 0 f2"/>
                <a:gd name="f9" fmla="+- f3 0 f2"/>
                <a:gd name="f10" fmla="*/ f9 1 1731163"/>
                <a:gd name="f11" fmla="*/ f8 1 157826"/>
                <a:gd name="f12" fmla="*/ 0 1 f10"/>
                <a:gd name="f13" fmla="*/ 1731163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731163"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26" name="Freeform: Shape 25">
              <a:extLst>
                <a:ext uri="{FF2B5EF4-FFF2-40B4-BE49-F238E27FC236}">
                  <a16:creationId xmlns:a16="http://schemas.microsoft.com/office/drawing/2014/main" id="{004906E3-8C0B-3EBF-FE77-09C36FD0D739}"/>
                </a:ext>
              </a:extLst>
            </p:cNvPr>
            <p:cNvSpPr/>
            <p:nvPr/>
          </p:nvSpPr>
          <p:spPr>
            <a:xfrm>
              <a:off x="5805836"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SAP Analytics Cloud</a:t>
              </a:r>
            </a:p>
          </p:txBody>
        </p:sp>
        <p:sp>
          <p:nvSpPr>
            <p:cNvPr id="27" name="Freeform: Shape 26">
              <a:extLst>
                <a:ext uri="{FF2B5EF4-FFF2-40B4-BE49-F238E27FC236}">
                  <a16:creationId xmlns:a16="http://schemas.microsoft.com/office/drawing/2014/main" id="{839F23D2-6697-8EB0-9096-214BE3ECEBAE}"/>
                </a:ext>
              </a:extLst>
            </p:cNvPr>
            <p:cNvSpPr/>
            <p:nvPr/>
          </p:nvSpPr>
          <p:spPr>
            <a:xfrm>
              <a:off x="5332351" y="4863382"/>
              <a:ext cx="769403" cy="157825"/>
            </a:xfrm>
            <a:custGeom>
              <a:avLst/>
              <a:gdLst>
                <a:gd name="f0" fmla="val w"/>
                <a:gd name="f1" fmla="val h"/>
                <a:gd name="f2" fmla="val 0"/>
                <a:gd name="f3" fmla="val 769405"/>
                <a:gd name="f4" fmla="val 157826"/>
                <a:gd name="f5" fmla="val 78913"/>
                <a:gd name="f6" fmla="*/ f0 1 769405"/>
                <a:gd name="f7" fmla="*/ f1 1 157826"/>
                <a:gd name="f8" fmla="+- f4 0 f2"/>
                <a:gd name="f9" fmla="+- f3 0 f2"/>
                <a:gd name="f10" fmla="*/ f9 1 769405"/>
                <a:gd name="f11" fmla="*/ f8 1 157826"/>
                <a:gd name="f12" fmla="*/ 0 1 f10"/>
                <a:gd name="f13" fmla="*/ 769405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769405"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28" name="Freeform: Shape 27">
              <a:extLst>
                <a:ext uri="{FF2B5EF4-FFF2-40B4-BE49-F238E27FC236}">
                  <a16:creationId xmlns:a16="http://schemas.microsoft.com/office/drawing/2014/main" id="{0ABC81FE-A34A-9353-3604-5470744CC1D6}"/>
                </a:ext>
              </a:extLst>
            </p:cNvPr>
            <p:cNvSpPr/>
            <p:nvPr/>
          </p:nvSpPr>
          <p:spPr>
            <a:xfrm>
              <a:off x="5036423" y="5021208"/>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Planning &amp; Budgeting</a:t>
              </a:r>
            </a:p>
          </p:txBody>
        </p:sp>
        <p:sp>
          <p:nvSpPr>
            <p:cNvPr id="29" name="Freeform: Shape 28">
              <a:extLst>
                <a:ext uri="{FF2B5EF4-FFF2-40B4-BE49-F238E27FC236}">
                  <a16:creationId xmlns:a16="http://schemas.microsoft.com/office/drawing/2014/main" id="{1C75BFE6-7610-411E-4284-DE93DDA1D3D3}"/>
                </a:ext>
              </a:extLst>
            </p:cNvPr>
            <p:cNvSpPr/>
            <p:nvPr/>
          </p:nvSpPr>
          <p:spPr>
            <a:xfrm>
              <a:off x="6056034" y="4863382"/>
              <a:ext cx="91440" cy="157825"/>
            </a:xfrm>
            <a:custGeom>
              <a:avLst/>
              <a:gdLst>
                <a:gd name="f0" fmla="val w"/>
                <a:gd name="f1" fmla="val h"/>
                <a:gd name="f2" fmla="val 0"/>
                <a:gd name="f3" fmla="val 91440"/>
                <a:gd name="f4" fmla="val 157826"/>
                <a:gd name="f5" fmla="val 45720"/>
                <a:gd name="f6" fmla="*/ f0 1 91440"/>
                <a:gd name="f7" fmla="*/ f1 1 157826"/>
                <a:gd name="f8" fmla="+- f4 0 f2"/>
                <a:gd name="f9" fmla="+- f3 0 f2"/>
                <a:gd name="f10" fmla="*/ f9 1 91440"/>
                <a:gd name="f11" fmla="*/ f8 1 157826"/>
                <a:gd name="f12" fmla="*/ 0 1 f10"/>
                <a:gd name="f13" fmla="*/ 91440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91440" h="157826">
                  <a:moveTo>
                    <a:pt x="f5" y="f2"/>
                  </a:moveTo>
                  <a:lnTo>
                    <a:pt x="f5"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30" name="Freeform: Shape 29">
              <a:extLst>
                <a:ext uri="{FF2B5EF4-FFF2-40B4-BE49-F238E27FC236}">
                  <a16:creationId xmlns:a16="http://schemas.microsoft.com/office/drawing/2014/main" id="{AD9C132C-96EC-54C1-5E14-600D476B1DF0}"/>
                </a:ext>
              </a:extLst>
            </p:cNvPr>
            <p:cNvSpPr/>
            <p:nvPr/>
          </p:nvSpPr>
          <p:spPr>
            <a:xfrm>
              <a:off x="5805836" y="5021208"/>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Business Applications</a:t>
              </a:r>
            </a:p>
          </p:txBody>
        </p:sp>
        <p:sp>
          <p:nvSpPr>
            <p:cNvPr id="31" name="Freeform: Shape 30">
              <a:extLst>
                <a:ext uri="{FF2B5EF4-FFF2-40B4-BE49-F238E27FC236}">
                  <a16:creationId xmlns:a16="http://schemas.microsoft.com/office/drawing/2014/main" id="{CF3583FD-B010-A4C6-3A27-BCE36880F540}"/>
                </a:ext>
              </a:extLst>
            </p:cNvPr>
            <p:cNvSpPr/>
            <p:nvPr/>
          </p:nvSpPr>
          <p:spPr>
            <a:xfrm>
              <a:off x="6101749" y="4863382"/>
              <a:ext cx="769403" cy="156517"/>
            </a:xfrm>
            <a:custGeom>
              <a:avLst/>
              <a:gdLst>
                <a:gd name="f0" fmla="val w"/>
                <a:gd name="f1" fmla="val h"/>
                <a:gd name="f2" fmla="val 0"/>
                <a:gd name="f3" fmla="val 769405"/>
                <a:gd name="f4" fmla="val 156516"/>
                <a:gd name="f5" fmla="val 78258"/>
                <a:gd name="f6" fmla="*/ f0 1 769405"/>
                <a:gd name="f7" fmla="*/ f1 1 156516"/>
                <a:gd name="f8" fmla="+- f4 0 f2"/>
                <a:gd name="f9" fmla="+- f3 0 f2"/>
                <a:gd name="f10" fmla="*/ f9 1 769405"/>
                <a:gd name="f11" fmla="*/ f8 1 156516"/>
                <a:gd name="f12" fmla="*/ 0 1 f10"/>
                <a:gd name="f13" fmla="*/ 769405 1 f10"/>
                <a:gd name="f14" fmla="*/ 0 1 f11"/>
                <a:gd name="f15" fmla="*/ 15651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769405" h="15651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32" name="Freeform: Shape 31">
              <a:extLst>
                <a:ext uri="{FF2B5EF4-FFF2-40B4-BE49-F238E27FC236}">
                  <a16:creationId xmlns:a16="http://schemas.microsoft.com/office/drawing/2014/main" id="{05E09BD6-B5FB-7D0C-C6D2-E74DA2621D27}"/>
                </a:ext>
              </a:extLst>
            </p:cNvPr>
            <p:cNvSpPr/>
            <p:nvPr/>
          </p:nvSpPr>
          <p:spPr>
            <a:xfrm>
              <a:off x="6575240" y="501990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Custom Widget</a:t>
              </a:r>
            </a:p>
          </p:txBody>
        </p:sp>
        <p:sp>
          <p:nvSpPr>
            <p:cNvPr id="33" name="Freeform: Shape 32">
              <a:extLst>
                <a:ext uri="{FF2B5EF4-FFF2-40B4-BE49-F238E27FC236}">
                  <a16:creationId xmlns:a16="http://schemas.microsoft.com/office/drawing/2014/main" id="{EC3EAF93-A3F7-2328-CEC0-D6F948F11668}"/>
                </a:ext>
              </a:extLst>
            </p:cNvPr>
            <p:cNvSpPr/>
            <p:nvPr/>
          </p:nvSpPr>
          <p:spPr>
            <a:xfrm>
              <a:off x="7832924" y="4310993"/>
              <a:ext cx="192353" cy="157825"/>
            </a:xfrm>
            <a:custGeom>
              <a:avLst/>
              <a:gdLst>
                <a:gd name="f0" fmla="val w"/>
                <a:gd name="f1" fmla="val h"/>
                <a:gd name="f2" fmla="val 0"/>
                <a:gd name="f3" fmla="val 192351"/>
                <a:gd name="f4" fmla="val 157826"/>
                <a:gd name="f5" fmla="val 78913"/>
                <a:gd name="f6" fmla="*/ f0 1 192351"/>
                <a:gd name="f7" fmla="*/ f1 1 157826"/>
                <a:gd name="f8" fmla="+- f4 0 f2"/>
                <a:gd name="f9" fmla="+- f3 0 f2"/>
                <a:gd name="f10" fmla="*/ f9 1 192351"/>
                <a:gd name="f11" fmla="*/ f8 1 157826"/>
                <a:gd name="f12" fmla="*/ 0 1 f10"/>
                <a:gd name="f13" fmla="*/ 192351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92351" h="157826">
                  <a:moveTo>
                    <a:pt x="f2" y="f2"/>
                  </a:moveTo>
                  <a:lnTo>
                    <a:pt x="f2" y="f5"/>
                  </a:lnTo>
                  <a:lnTo>
                    <a:pt x="f3" y="f5"/>
                  </a:lnTo>
                  <a:lnTo>
                    <a:pt x="f3"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34" name="Freeform: Shape 33">
              <a:extLst>
                <a:ext uri="{FF2B5EF4-FFF2-40B4-BE49-F238E27FC236}">
                  <a16:creationId xmlns:a16="http://schemas.microsoft.com/office/drawing/2014/main" id="{8FBAB41A-C5B3-DD33-5827-DD98F7A68374}"/>
                </a:ext>
              </a:extLst>
            </p:cNvPr>
            <p:cNvSpPr/>
            <p:nvPr/>
          </p:nvSpPr>
          <p:spPr>
            <a:xfrm>
              <a:off x="7729350"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HANA Cloud</a:t>
              </a:r>
            </a:p>
          </p:txBody>
        </p:sp>
        <p:sp>
          <p:nvSpPr>
            <p:cNvPr id="36" name="Freeform: Shape 35">
              <a:extLst>
                <a:ext uri="{FF2B5EF4-FFF2-40B4-BE49-F238E27FC236}">
                  <a16:creationId xmlns:a16="http://schemas.microsoft.com/office/drawing/2014/main" id="{318F0D8C-0994-DD57-FDC0-AA0D0F2992FD}"/>
                </a:ext>
              </a:extLst>
            </p:cNvPr>
            <p:cNvSpPr/>
            <p:nvPr/>
          </p:nvSpPr>
          <p:spPr>
            <a:xfrm>
              <a:off x="7633173" y="4863382"/>
              <a:ext cx="392103" cy="156517"/>
            </a:xfrm>
            <a:custGeom>
              <a:avLst/>
              <a:gdLst>
                <a:gd name="f0" fmla="val w"/>
                <a:gd name="f1" fmla="val h"/>
                <a:gd name="f2" fmla="val 0"/>
                <a:gd name="f3" fmla="val 392101"/>
                <a:gd name="f4" fmla="val 156516"/>
                <a:gd name="f5" fmla="val 78258"/>
                <a:gd name="f6" fmla="*/ f0 1 392101"/>
                <a:gd name="f7" fmla="*/ f1 1 156516"/>
                <a:gd name="f8" fmla="+- f4 0 f2"/>
                <a:gd name="f9" fmla="+- f3 0 f2"/>
                <a:gd name="f10" fmla="*/ f9 1 392101"/>
                <a:gd name="f11" fmla="*/ f8 1 156516"/>
                <a:gd name="f12" fmla="*/ 0 1 f10"/>
                <a:gd name="f13" fmla="*/ 392101 1 f10"/>
                <a:gd name="f14" fmla="*/ 0 1 f11"/>
                <a:gd name="f15" fmla="*/ 15651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92101" h="15651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37" name="Freeform: Shape 36">
              <a:extLst>
                <a:ext uri="{FF2B5EF4-FFF2-40B4-BE49-F238E27FC236}">
                  <a16:creationId xmlns:a16="http://schemas.microsoft.com/office/drawing/2014/main" id="{64DA892D-E811-D9D7-95D2-575DD9737044}"/>
                </a:ext>
              </a:extLst>
            </p:cNvPr>
            <p:cNvSpPr/>
            <p:nvPr/>
          </p:nvSpPr>
          <p:spPr>
            <a:xfrm>
              <a:off x="7337246" y="501990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IS Utilities</a:t>
              </a:r>
            </a:p>
          </p:txBody>
        </p:sp>
        <p:sp>
          <p:nvSpPr>
            <p:cNvPr id="40" name="Freeform: Shape 39">
              <a:extLst>
                <a:ext uri="{FF2B5EF4-FFF2-40B4-BE49-F238E27FC236}">
                  <a16:creationId xmlns:a16="http://schemas.microsoft.com/office/drawing/2014/main" id="{FEC5485F-20E3-FF9C-3230-FEE7255E1F4B}"/>
                </a:ext>
              </a:extLst>
            </p:cNvPr>
            <p:cNvSpPr/>
            <p:nvPr/>
          </p:nvSpPr>
          <p:spPr>
            <a:xfrm>
              <a:off x="8025268" y="4863382"/>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41" name="Freeform: Shape 40">
              <a:extLst>
                <a:ext uri="{FF2B5EF4-FFF2-40B4-BE49-F238E27FC236}">
                  <a16:creationId xmlns:a16="http://schemas.microsoft.com/office/drawing/2014/main" id="{05DA4A6F-C957-A9EE-20EA-67CDDB943573}"/>
                </a:ext>
              </a:extLst>
            </p:cNvPr>
            <p:cNvSpPr/>
            <p:nvPr/>
          </p:nvSpPr>
          <p:spPr>
            <a:xfrm>
              <a:off x="8114047" y="5021208"/>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IS Real Estate</a:t>
              </a:r>
            </a:p>
          </p:txBody>
        </p:sp>
        <p:sp>
          <p:nvSpPr>
            <p:cNvPr id="42" name="Freeform: Shape 41">
              <a:extLst>
                <a:ext uri="{FF2B5EF4-FFF2-40B4-BE49-F238E27FC236}">
                  <a16:creationId xmlns:a16="http://schemas.microsoft.com/office/drawing/2014/main" id="{9AD69FBE-F524-B82E-BE06-E60AFF4B0A3F}"/>
                </a:ext>
              </a:extLst>
            </p:cNvPr>
            <p:cNvSpPr/>
            <p:nvPr/>
          </p:nvSpPr>
          <p:spPr>
            <a:xfrm>
              <a:off x="7832924" y="4310993"/>
              <a:ext cx="1731160" cy="157825"/>
            </a:xfrm>
            <a:custGeom>
              <a:avLst/>
              <a:gdLst>
                <a:gd name="f0" fmla="val w"/>
                <a:gd name="f1" fmla="val h"/>
                <a:gd name="f2" fmla="val 0"/>
                <a:gd name="f3" fmla="val 1731163"/>
                <a:gd name="f4" fmla="val 157826"/>
                <a:gd name="f5" fmla="val 78913"/>
                <a:gd name="f6" fmla="*/ f0 1 1731163"/>
                <a:gd name="f7" fmla="*/ f1 1 157826"/>
                <a:gd name="f8" fmla="+- f4 0 f2"/>
                <a:gd name="f9" fmla="+- f3 0 f2"/>
                <a:gd name="f10" fmla="*/ f9 1 1731163"/>
                <a:gd name="f11" fmla="*/ f8 1 157826"/>
                <a:gd name="f12" fmla="*/ 0 1 f10"/>
                <a:gd name="f13" fmla="*/ 1731163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731163"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43" name="Freeform: Shape 42">
              <a:extLst>
                <a:ext uri="{FF2B5EF4-FFF2-40B4-BE49-F238E27FC236}">
                  <a16:creationId xmlns:a16="http://schemas.microsoft.com/office/drawing/2014/main" id="{3E5BE7C0-CEE9-FAEA-CC1F-DBFEE128108C}"/>
                </a:ext>
              </a:extLst>
            </p:cNvPr>
            <p:cNvSpPr/>
            <p:nvPr/>
          </p:nvSpPr>
          <p:spPr>
            <a:xfrm>
              <a:off x="9268157" y="4468819"/>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76717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HANA</a:t>
              </a:r>
            </a:p>
          </p:txBody>
        </p:sp>
        <p:sp>
          <p:nvSpPr>
            <p:cNvPr id="44" name="Freeform: Shape 43">
              <a:extLst>
                <a:ext uri="{FF2B5EF4-FFF2-40B4-BE49-F238E27FC236}">
                  <a16:creationId xmlns:a16="http://schemas.microsoft.com/office/drawing/2014/main" id="{7485F7EF-8218-7AB0-0CD6-592325D089B4}"/>
                </a:ext>
              </a:extLst>
            </p:cNvPr>
            <p:cNvSpPr/>
            <p:nvPr/>
          </p:nvSpPr>
          <p:spPr>
            <a:xfrm>
              <a:off x="9179378" y="4863382"/>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45" name="Freeform: Shape 44">
              <a:extLst>
                <a:ext uri="{FF2B5EF4-FFF2-40B4-BE49-F238E27FC236}">
                  <a16:creationId xmlns:a16="http://schemas.microsoft.com/office/drawing/2014/main" id="{DABF2B9D-C430-B863-1E5E-04DC35F7326F}"/>
                </a:ext>
              </a:extLst>
            </p:cNvPr>
            <p:cNvSpPr/>
            <p:nvPr/>
          </p:nvSpPr>
          <p:spPr>
            <a:xfrm>
              <a:off x="8883460" y="5021208"/>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IS Utilities</a:t>
              </a:r>
            </a:p>
          </p:txBody>
        </p:sp>
        <p:sp>
          <p:nvSpPr>
            <p:cNvPr id="46" name="Freeform: Shape 45">
              <a:extLst>
                <a:ext uri="{FF2B5EF4-FFF2-40B4-BE49-F238E27FC236}">
                  <a16:creationId xmlns:a16="http://schemas.microsoft.com/office/drawing/2014/main" id="{E463E91C-48DB-F24B-CFB9-A21B9CF5A71C}"/>
                </a:ext>
              </a:extLst>
            </p:cNvPr>
            <p:cNvSpPr/>
            <p:nvPr/>
          </p:nvSpPr>
          <p:spPr>
            <a:xfrm>
              <a:off x="9564084" y="4863382"/>
              <a:ext cx="384706" cy="157825"/>
            </a:xfrm>
            <a:custGeom>
              <a:avLst/>
              <a:gdLst>
                <a:gd name="f0" fmla="val w"/>
                <a:gd name="f1" fmla="val h"/>
                <a:gd name="f2" fmla="val 0"/>
                <a:gd name="f3" fmla="val 384702"/>
                <a:gd name="f4" fmla="val 157826"/>
                <a:gd name="f5" fmla="val 78913"/>
                <a:gd name="f6" fmla="*/ f0 1 384702"/>
                <a:gd name="f7" fmla="*/ f1 1 157826"/>
                <a:gd name="f8" fmla="+- f4 0 f2"/>
                <a:gd name="f9" fmla="+- f3 0 f2"/>
                <a:gd name="f10" fmla="*/ f9 1 384702"/>
                <a:gd name="f11" fmla="*/ f8 1 157826"/>
                <a:gd name="f12" fmla="*/ 0 1 f10"/>
                <a:gd name="f13" fmla="*/ 384702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84702"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47" name="Freeform: Shape 46">
              <a:extLst>
                <a:ext uri="{FF2B5EF4-FFF2-40B4-BE49-F238E27FC236}">
                  <a16:creationId xmlns:a16="http://schemas.microsoft.com/office/drawing/2014/main" id="{7B798D69-F4F4-60F5-99C5-61C4851CCFB6}"/>
                </a:ext>
              </a:extLst>
            </p:cNvPr>
            <p:cNvSpPr/>
            <p:nvPr/>
          </p:nvSpPr>
          <p:spPr>
            <a:xfrm>
              <a:off x="9652863" y="5021208"/>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5A11"/>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600" b="1" i="0" u="none" strike="noStrike" kern="1200" cap="none" spc="0" baseline="0">
                  <a:solidFill>
                    <a:srgbClr val="FFFFFF"/>
                  </a:solidFill>
                  <a:uFillTx/>
                  <a:latin typeface="Calibri"/>
                </a:rPr>
                <a:t>IS Real Estate</a:t>
              </a:r>
            </a:p>
          </p:txBody>
        </p:sp>
        <p:sp>
          <p:nvSpPr>
            <p:cNvPr id="48" name="Freeform: Shape 47">
              <a:extLst>
                <a:ext uri="{FF2B5EF4-FFF2-40B4-BE49-F238E27FC236}">
                  <a16:creationId xmlns:a16="http://schemas.microsoft.com/office/drawing/2014/main" id="{61685D80-0286-B35B-3672-4373C1494112}"/>
                </a:ext>
              </a:extLst>
            </p:cNvPr>
            <p:cNvSpPr/>
            <p:nvPr/>
          </p:nvSpPr>
          <p:spPr>
            <a:xfrm>
              <a:off x="7303952" y="3206206"/>
              <a:ext cx="2837182" cy="157825"/>
            </a:xfrm>
            <a:custGeom>
              <a:avLst/>
              <a:gdLst>
                <a:gd name="f0" fmla="val w"/>
                <a:gd name="f1" fmla="val h"/>
                <a:gd name="f2" fmla="val 0"/>
                <a:gd name="f3" fmla="val 2837184"/>
                <a:gd name="f4" fmla="val 157826"/>
                <a:gd name="f5" fmla="val 78913"/>
                <a:gd name="f6" fmla="*/ f0 1 2837184"/>
                <a:gd name="f7" fmla="*/ f1 1 157826"/>
                <a:gd name="f8" fmla="+- f4 0 f2"/>
                <a:gd name="f9" fmla="+- f3 0 f2"/>
                <a:gd name="f10" fmla="*/ f9 1 2837184"/>
                <a:gd name="f11" fmla="*/ f8 1 157826"/>
                <a:gd name="f12" fmla="*/ 0 1 f10"/>
                <a:gd name="f13" fmla="*/ 2837184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2837184" h="157826">
                  <a:moveTo>
                    <a:pt x="f2" y="f2"/>
                  </a:moveTo>
                  <a:lnTo>
                    <a:pt x="f2" y="f5"/>
                  </a:lnTo>
                  <a:lnTo>
                    <a:pt x="f3" y="f5"/>
                  </a:lnTo>
                  <a:lnTo>
                    <a:pt x="f3"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49" name="Freeform: Shape 48">
              <a:extLst>
                <a:ext uri="{FF2B5EF4-FFF2-40B4-BE49-F238E27FC236}">
                  <a16:creationId xmlns:a16="http://schemas.microsoft.com/office/drawing/2014/main" id="{F9FFF9FD-2EB9-CD3E-6FE0-D521EC089FED}"/>
                </a:ext>
              </a:extLst>
            </p:cNvPr>
            <p:cNvSpPr/>
            <p:nvPr/>
          </p:nvSpPr>
          <p:spPr>
            <a:xfrm>
              <a:off x="9845216" y="3364031"/>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4472C4"/>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100" b="1" i="0" u="none" strike="noStrike" kern="1200" cap="none" spc="0" baseline="0" dirty="0">
                  <a:solidFill>
                    <a:schemeClr val="bg1"/>
                  </a:solidFill>
                  <a:uFillTx/>
                  <a:latin typeface="Calibri"/>
                </a:rPr>
                <a:t>AWS</a:t>
              </a:r>
            </a:p>
          </p:txBody>
        </p:sp>
        <p:sp>
          <p:nvSpPr>
            <p:cNvPr id="50" name="Freeform: Shape 49">
              <a:extLst>
                <a:ext uri="{FF2B5EF4-FFF2-40B4-BE49-F238E27FC236}">
                  <a16:creationId xmlns:a16="http://schemas.microsoft.com/office/drawing/2014/main" id="{52D1DD27-2C28-B910-E291-CDA259973432}"/>
                </a:ext>
              </a:extLst>
            </p:cNvPr>
            <p:cNvSpPr/>
            <p:nvPr/>
          </p:nvSpPr>
          <p:spPr>
            <a:xfrm>
              <a:off x="8602327" y="3758595"/>
              <a:ext cx="1538807" cy="157825"/>
            </a:xfrm>
            <a:custGeom>
              <a:avLst/>
              <a:gdLst>
                <a:gd name="f0" fmla="val w"/>
                <a:gd name="f1" fmla="val h"/>
                <a:gd name="f2" fmla="val 0"/>
                <a:gd name="f3" fmla="val 1538811"/>
                <a:gd name="f4" fmla="val 157826"/>
                <a:gd name="f5" fmla="val 78913"/>
                <a:gd name="f6" fmla="*/ f0 1 1538811"/>
                <a:gd name="f7" fmla="*/ f1 1 157826"/>
                <a:gd name="f8" fmla="+- f4 0 f2"/>
                <a:gd name="f9" fmla="+- f3 0 f2"/>
                <a:gd name="f10" fmla="*/ f9 1 1538811"/>
                <a:gd name="f11" fmla="*/ f8 1 157826"/>
                <a:gd name="f12" fmla="*/ 0 1 f10"/>
                <a:gd name="f13" fmla="*/ 1538811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538811"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51" name="Freeform: Shape 50">
              <a:extLst>
                <a:ext uri="{FF2B5EF4-FFF2-40B4-BE49-F238E27FC236}">
                  <a16:creationId xmlns:a16="http://schemas.microsoft.com/office/drawing/2014/main" id="{95DE2045-9CB9-EAB6-D0D8-800A16E7BB3E}"/>
                </a:ext>
              </a:extLst>
            </p:cNvPr>
            <p:cNvSpPr/>
            <p:nvPr/>
          </p:nvSpPr>
          <p:spPr>
            <a:xfrm>
              <a:off x="8306400"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D0CECE"/>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000" b="1" i="0" u="none" strike="noStrike" kern="1200" cap="none" spc="0" baseline="0" dirty="0">
                  <a:solidFill>
                    <a:srgbClr val="000000"/>
                  </a:solidFill>
                  <a:uFillTx/>
                  <a:latin typeface="Calibri"/>
                </a:rPr>
                <a:t>Redshift</a:t>
              </a:r>
            </a:p>
          </p:txBody>
        </p:sp>
        <p:sp>
          <p:nvSpPr>
            <p:cNvPr id="52" name="Freeform: Shape 51">
              <a:extLst>
                <a:ext uri="{FF2B5EF4-FFF2-40B4-BE49-F238E27FC236}">
                  <a16:creationId xmlns:a16="http://schemas.microsoft.com/office/drawing/2014/main" id="{57DF18C4-10B7-17CD-8B03-F675B2B393B5}"/>
                </a:ext>
              </a:extLst>
            </p:cNvPr>
            <p:cNvSpPr/>
            <p:nvPr/>
          </p:nvSpPr>
          <p:spPr>
            <a:xfrm>
              <a:off x="9371731" y="3758595"/>
              <a:ext cx="769403" cy="157825"/>
            </a:xfrm>
            <a:custGeom>
              <a:avLst/>
              <a:gdLst>
                <a:gd name="f0" fmla="val w"/>
                <a:gd name="f1" fmla="val h"/>
                <a:gd name="f2" fmla="val 0"/>
                <a:gd name="f3" fmla="val 769405"/>
                <a:gd name="f4" fmla="val 157826"/>
                <a:gd name="f5" fmla="val 78913"/>
                <a:gd name="f6" fmla="*/ f0 1 769405"/>
                <a:gd name="f7" fmla="*/ f1 1 157826"/>
                <a:gd name="f8" fmla="+- f4 0 f2"/>
                <a:gd name="f9" fmla="+- f3 0 f2"/>
                <a:gd name="f10" fmla="*/ f9 1 769405"/>
                <a:gd name="f11" fmla="*/ f8 1 157826"/>
                <a:gd name="f12" fmla="*/ 0 1 f10"/>
                <a:gd name="f13" fmla="*/ 769405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769405" h="157826">
                  <a:moveTo>
                    <a:pt x="f3" y="f2"/>
                  </a:moveTo>
                  <a:lnTo>
                    <a:pt x="f3" y="f5"/>
                  </a:lnTo>
                  <a:lnTo>
                    <a:pt x="f2" y="f5"/>
                  </a:lnTo>
                  <a:lnTo>
                    <a:pt x="f2"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53" name="Freeform: Shape 52">
              <a:extLst>
                <a:ext uri="{FF2B5EF4-FFF2-40B4-BE49-F238E27FC236}">
                  <a16:creationId xmlns:a16="http://schemas.microsoft.com/office/drawing/2014/main" id="{4B4EFF3C-BA54-DC02-4B9F-F3FDECDD9683}"/>
                </a:ext>
              </a:extLst>
            </p:cNvPr>
            <p:cNvSpPr/>
            <p:nvPr/>
          </p:nvSpPr>
          <p:spPr>
            <a:xfrm>
              <a:off x="9075804"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D0CECE"/>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000" b="1" i="0" u="none" strike="noStrike" kern="1200" cap="none" spc="0" baseline="0" dirty="0">
                  <a:solidFill>
                    <a:srgbClr val="000000"/>
                  </a:solidFill>
                  <a:uFillTx/>
                  <a:latin typeface="Calibri"/>
                </a:rPr>
                <a:t>Glue</a:t>
              </a:r>
            </a:p>
          </p:txBody>
        </p:sp>
        <p:sp>
          <p:nvSpPr>
            <p:cNvPr id="54" name="Freeform: Shape 53">
              <a:extLst>
                <a:ext uri="{FF2B5EF4-FFF2-40B4-BE49-F238E27FC236}">
                  <a16:creationId xmlns:a16="http://schemas.microsoft.com/office/drawing/2014/main" id="{A0E133DA-D142-573C-601D-878167C802AD}"/>
                </a:ext>
              </a:extLst>
            </p:cNvPr>
            <p:cNvSpPr/>
            <p:nvPr/>
          </p:nvSpPr>
          <p:spPr>
            <a:xfrm>
              <a:off x="10095414" y="3758595"/>
              <a:ext cx="91440" cy="157825"/>
            </a:xfrm>
            <a:custGeom>
              <a:avLst/>
              <a:gdLst>
                <a:gd name="f0" fmla="val w"/>
                <a:gd name="f1" fmla="val h"/>
                <a:gd name="f2" fmla="val 0"/>
                <a:gd name="f3" fmla="val 91440"/>
                <a:gd name="f4" fmla="val 157826"/>
                <a:gd name="f5" fmla="val 45720"/>
                <a:gd name="f6" fmla="*/ f0 1 91440"/>
                <a:gd name="f7" fmla="*/ f1 1 157826"/>
                <a:gd name="f8" fmla="+- f4 0 f2"/>
                <a:gd name="f9" fmla="+- f3 0 f2"/>
                <a:gd name="f10" fmla="*/ f9 1 91440"/>
                <a:gd name="f11" fmla="*/ f8 1 157826"/>
                <a:gd name="f12" fmla="*/ 0 1 f10"/>
                <a:gd name="f13" fmla="*/ 91440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91440" h="157826">
                  <a:moveTo>
                    <a:pt x="f5" y="f2"/>
                  </a:moveTo>
                  <a:lnTo>
                    <a:pt x="f5"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55" name="Freeform: Shape 54">
              <a:extLst>
                <a:ext uri="{FF2B5EF4-FFF2-40B4-BE49-F238E27FC236}">
                  <a16:creationId xmlns:a16="http://schemas.microsoft.com/office/drawing/2014/main" id="{C54561EE-38E6-07DB-3CCB-2EE1282DD8EE}"/>
                </a:ext>
              </a:extLst>
            </p:cNvPr>
            <p:cNvSpPr/>
            <p:nvPr/>
          </p:nvSpPr>
          <p:spPr>
            <a:xfrm>
              <a:off x="9845216"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D0CECE"/>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000" b="1" i="0" u="none" strike="noStrike" kern="1200" cap="none" spc="0" baseline="0" dirty="0">
                  <a:solidFill>
                    <a:srgbClr val="000000"/>
                  </a:solidFill>
                  <a:uFillTx/>
                  <a:latin typeface="Calibri"/>
                </a:rPr>
                <a:t>S3</a:t>
              </a:r>
            </a:p>
          </p:txBody>
        </p:sp>
        <p:sp>
          <p:nvSpPr>
            <p:cNvPr id="56" name="Freeform: Shape 55">
              <a:extLst>
                <a:ext uri="{FF2B5EF4-FFF2-40B4-BE49-F238E27FC236}">
                  <a16:creationId xmlns:a16="http://schemas.microsoft.com/office/drawing/2014/main" id="{03C418AF-7DD2-0C0F-43CC-1F5AE3CB025E}"/>
                </a:ext>
              </a:extLst>
            </p:cNvPr>
            <p:cNvSpPr/>
            <p:nvPr/>
          </p:nvSpPr>
          <p:spPr>
            <a:xfrm>
              <a:off x="10141134" y="3758595"/>
              <a:ext cx="769403" cy="157825"/>
            </a:xfrm>
            <a:custGeom>
              <a:avLst/>
              <a:gdLst>
                <a:gd name="f0" fmla="val w"/>
                <a:gd name="f1" fmla="val h"/>
                <a:gd name="f2" fmla="val 0"/>
                <a:gd name="f3" fmla="val 769405"/>
                <a:gd name="f4" fmla="val 157826"/>
                <a:gd name="f5" fmla="val 78913"/>
                <a:gd name="f6" fmla="*/ f0 1 769405"/>
                <a:gd name="f7" fmla="*/ f1 1 157826"/>
                <a:gd name="f8" fmla="+- f4 0 f2"/>
                <a:gd name="f9" fmla="+- f3 0 f2"/>
                <a:gd name="f10" fmla="*/ f9 1 769405"/>
                <a:gd name="f11" fmla="*/ f8 1 157826"/>
                <a:gd name="f12" fmla="*/ 0 1 f10"/>
                <a:gd name="f13" fmla="*/ 769405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769405" h="157826">
                  <a:moveTo>
                    <a:pt x="f2" y="f2"/>
                  </a:moveTo>
                  <a:lnTo>
                    <a:pt x="f2" y="f5"/>
                  </a:lnTo>
                  <a:lnTo>
                    <a:pt x="f3" y="f5"/>
                  </a:lnTo>
                  <a:lnTo>
                    <a:pt x="f3"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57" name="Freeform: Shape 56">
              <a:extLst>
                <a:ext uri="{FF2B5EF4-FFF2-40B4-BE49-F238E27FC236}">
                  <a16:creationId xmlns:a16="http://schemas.microsoft.com/office/drawing/2014/main" id="{7E07A77F-38FE-2BDF-82BF-C51D985FADE1}"/>
                </a:ext>
              </a:extLst>
            </p:cNvPr>
            <p:cNvSpPr/>
            <p:nvPr/>
          </p:nvSpPr>
          <p:spPr>
            <a:xfrm>
              <a:off x="10614620"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D0CECE"/>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1000" b="1" i="0" u="none" strike="noStrike" kern="1200" cap="none" spc="0" baseline="0" dirty="0">
                  <a:solidFill>
                    <a:srgbClr val="000000"/>
                  </a:solidFill>
                  <a:uFillTx/>
                  <a:latin typeface="Calibri"/>
                </a:rPr>
                <a:t>Athena</a:t>
              </a:r>
            </a:p>
          </p:txBody>
        </p:sp>
        <p:sp>
          <p:nvSpPr>
            <p:cNvPr id="58" name="Freeform: Shape 57">
              <a:extLst>
                <a:ext uri="{FF2B5EF4-FFF2-40B4-BE49-F238E27FC236}">
                  <a16:creationId xmlns:a16="http://schemas.microsoft.com/office/drawing/2014/main" id="{9F7FC90F-0717-C4E0-717A-B2A403664C9E}"/>
                </a:ext>
              </a:extLst>
            </p:cNvPr>
            <p:cNvSpPr/>
            <p:nvPr/>
          </p:nvSpPr>
          <p:spPr>
            <a:xfrm>
              <a:off x="10141134" y="3758595"/>
              <a:ext cx="1538807" cy="157825"/>
            </a:xfrm>
            <a:custGeom>
              <a:avLst/>
              <a:gdLst>
                <a:gd name="f0" fmla="val w"/>
                <a:gd name="f1" fmla="val h"/>
                <a:gd name="f2" fmla="val 0"/>
                <a:gd name="f3" fmla="val 1538811"/>
                <a:gd name="f4" fmla="val 157826"/>
                <a:gd name="f5" fmla="val 78913"/>
                <a:gd name="f6" fmla="*/ f0 1 1538811"/>
                <a:gd name="f7" fmla="*/ f1 1 157826"/>
                <a:gd name="f8" fmla="+- f4 0 f2"/>
                <a:gd name="f9" fmla="+- f3 0 f2"/>
                <a:gd name="f10" fmla="*/ f9 1 1538811"/>
                <a:gd name="f11" fmla="*/ f8 1 157826"/>
                <a:gd name="f12" fmla="*/ 0 1 f10"/>
                <a:gd name="f13" fmla="*/ 1538811 1 f10"/>
                <a:gd name="f14" fmla="*/ 0 1 f11"/>
                <a:gd name="f15" fmla="*/ 157826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1538811" h="157826">
                  <a:moveTo>
                    <a:pt x="f2" y="f2"/>
                  </a:moveTo>
                  <a:lnTo>
                    <a:pt x="f2" y="f5"/>
                  </a:lnTo>
                  <a:lnTo>
                    <a:pt x="f3" y="f5"/>
                  </a:lnTo>
                  <a:lnTo>
                    <a:pt x="f3" y="f4"/>
                  </a:lnTo>
                </a:path>
              </a:pathLst>
            </a:custGeom>
            <a:ln/>
          </p:spPr>
          <p:style>
            <a:lnRef idx="1">
              <a:schemeClr val="dk1"/>
            </a:lnRef>
            <a:fillRef idx="0">
              <a:schemeClr val="dk1"/>
            </a:fillRef>
            <a:effectRef idx="0">
              <a:schemeClr val="dk1"/>
            </a:effectRef>
            <a:fontRef idx="minor">
              <a:schemeClr val="tx1"/>
            </a:fontRef>
          </p:style>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dirty="0">
                <a:solidFill>
                  <a:srgbClr val="000000"/>
                </a:solidFill>
                <a:uFillTx/>
                <a:latin typeface="Calibri"/>
              </a:endParaRPr>
            </a:p>
          </p:txBody>
        </p:sp>
        <p:sp>
          <p:nvSpPr>
            <p:cNvPr id="59" name="Freeform: Shape 58">
              <a:extLst>
                <a:ext uri="{FF2B5EF4-FFF2-40B4-BE49-F238E27FC236}">
                  <a16:creationId xmlns:a16="http://schemas.microsoft.com/office/drawing/2014/main" id="{C1431F25-8AA7-6819-FFDF-1A94515CFD6A}"/>
                </a:ext>
              </a:extLst>
            </p:cNvPr>
            <p:cNvSpPr/>
            <p:nvPr/>
          </p:nvSpPr>
          <p:spPr>
            <a:xfrm>
              <a:off x="11384023" y="3916420"/>
              <a:ext cx="591854" cy="394563"/>
            </a:xfrm>
            <a:custGeom>
              <a:avLst/>
              <a:gdLst>
                <a:gd name="f0" fmla="val 10800000"/>
                <a:gd name="f1" fmla="val 5400000"/>
                <a:gd name="f2" fmla="val 180"/>
                <a:gd name="f3" fmla="val w"/>
                <a:gd name="f4" fmla="val h"/>
                <a:gd name="f5" fmla="val 0"/>
                <a:gd name="f6" fmla="val 591850"/>
                <a:gd name="f7" fmla="val 394567"/>
                <a:gd name="f8" fmla="val 39457"/>
                <a:gd name="f9" fmla="val 17666"/>
                <a:gd name="f10" fmla="val 552393"/>
                <a:gd name="f11" fmla="val 574184"/>
                <a:gd name="f12" fmla="val 355110"/>
                <a:gd name="f13" fmla="val 376901"/>
                <a:gd name="f14" fmla="+- 0 0 -90"/>
                <a:gd name="f15" fmla="*/ f3 1 591850"/>
                <a:gd name="f16" fmla="*/ f4 1 394567"/>
                <a:gd name="f17" fmla="+- f7 0 f5"/>
                <a:gd name="f18" fmla="+- f6 0 f5"/>
                <a:gd name="f19" fmla="*/ f14 f0 1"/>
                <a:gd name="f20" fmla="*/ f18 1 591850"/>
                <a:gd name="f21" fmla="*/ f17 1 394567"/>
                <a:gd name="f22" fmla="*/ 0 f18 1"/>
                <a:gd name="f23" fmla="*/ 39457 f17 1"/>
                <a:gd name="f24" fmla="*/ 39457 f18 1"/>
                <a:gd name="f25" fmla="*/ 0 f17 1"/>
                <a:gd name="f26" fmla="*/ 552393 f18 1"/>
                <a:gd name="f27" fmla="*/ 591850 f18 1"/>
                <a:gd name="f28" fmla="*/ 355110 f17 1"/>
                <a:gd name="f29" fmla="*/ 394567 f17 1"/>
                <a:gd name="f30" fmla="*/ f19 1 f2"/>
                <a:gd name="f31" fmla="*/ f22 1 591850"/>
                <a:gd name="f32" fmla="*/ f23 1 394567"/>
                <a:gd name="f33" fmla="*/ f24 1 591850"/>
                <a:gd name="f34" fmla="*/ f25 1 394567"/>
                <a:gd name="f35" fmla="*/ f26 1 591850"/>
                <a:gd name="f36" fmla="*/ f27 1 591850"/>
                <a:gd name="f37" fmla="*/ f28 1 394567"/>
                <a:gd name="f38" fmla="*/ f29 1 394567"/>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591850" h="394567">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D0CECE"/>
            </a:solidFill>
            <a:ln cap="flat">
              <a:noFill/>
              <a:prstDash val="solid"/>
            </a:ln>
          </p:spPr>
          <p:txBody>
            <a:bodyPr vert="horz" wrap="square" lIns="34418" tIns="34418" rIns="34418" bIns="34418" anchor="ctr" anchorCtr="1" compatLnSpc="1">
              <a:noAutofit/>
            </a:bodyPr>
            <a:lstStyle/>
            <a:p>
              <a:pPr marL="0" marR="0" lvl="0" indent="0" algn="ctr" defTabSz="266703" rtl="0" fontAlgn="auto" hangingPunct="1">
                <a:lnSpc>
                  <a:spcPct val="90000"/>
                </a:lnSpc>
                <a:spcBef>
                  <a:spcPts val="0"/>
                </a:spcBef>
                <a:spcAft>
                  <a:spcPts val="300"/>
                </a:spcAft>
                <a:buNone/>
                <a:tabLst/>
                <a:defRPr sz="1800" b="0" i="0" u="none" strike="noStrike" kern="0" cap="none" spc="0" baseline="0">
                  <a:solidFill>
                    <a:srgbClr val="000000"/>
                  </a:solidFill>
                  <a:uFillTx/>
                </a:defRPr>
              </a:pPr>
              <a:r>
                <a:rPr lang="en-US" sz="900" b="1" i="0" u="none" strike="noStrike" kern="1200" cap="none" spc="0" baseline="0" dirty="0">
                  <a:solidFill>
                    <a:srgbClr val="000000"/>
                  </a:solidFill>
                  <a:uFillTx/>
                  <a:latin typeface="Calibri"/>
                </a:rPr>
                <a:t>QuickSight</a:t>
              </a:r>
            </a:p>
          </p:txBody>
        </p:sp>
      </p:grpSp>
    </p:spTree>
    <p:extLst>
      <p:ext uri="{BB962C8B-B14F-4D97-AF65-F5344CB8AC3E}">
        <p14:creationId xmlns:p14="http://schemas.microsoft.com/office/powerpoint/2010/main" val="2945474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3534" y="584079"/>
            <a:ext cx="11971347" cy="1036475"/>
          </a:xfrm>
        </p:spPr>
        <p:txBody>
          <a:bodyPr lIns="91440" tIns="45720" rIns="91440" bIns="45720" anchor="ctr"/>
          <a:lstStyle/>
          <a:p>
            <a:pPr marL="0" lvl="0" indent="0" algn="ctr">
              <a:lnSpc>
                <a:spcPct val="100000"/>
              </a:lnSpc>
              <a:spcBef>
                <a:spcPts val="0"/>
              </a:spcBef>
              <a:buNone/>
            </a:pPr>
            <a:r>
              <a:rPr lang="en-ID" sz="2800" b="1" dirty="0">
                <a:solidFill>
                  <a:srgbClr val="FFFFFF"/>
                </a:solidFill>
                <a:latin typeface="Montserrat"/>
              </a:rPr>
              <a:t>Planning &amp; Budgeting Accelerators Built on SAP SAC</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pSp>
        <p:nvGrpSpPr>
          <p:cNvPr id="3" name="Content Placeholder 3">
            <a:extLst>
              <a:ext uri="{FF2B5EF4-FFF2-40B4-BE49-F238E27FC236}">
                <a16:creationId xmlns:a16="http://schemas.microsoft.com/office/drawing/2014/main" id="{9429417D-4089-E400-D33A-4F4DDDDE3070}"/>
              </a:ext>
            </a:extLst>
          </p:cNvPr>
          <p:cNvGrpSpPr/>
          <p:nvPr/>
        </p:nvGrpSpPr>
        <p:grpSpPr>
          <a:xfrm>
            <a:off x="1008695" y="2872334"/>
            <a:ext cx="10514438" cy="2637285"/>
            <a:chOff x="1004386" y="2873410"/>
            <a:chExt cx="10514438" cy="2637285"/>
          </a:xfrm>
        </p:grpSpPr>
        <p:sp>
          <p:nvSpPr>
            <p:cNvPr id="60" name="Freeform: Shape 59">
              <a:extLst>
                <a:ext uri="{FF2B5EF4-FFF2-40B4-BE49-F238E27FC236}">
                  <a16:creationId xmlns:a16="http://schemas.microsoft.com/office/drawing/2014/main" id="{6E459858-4851-BF52-F4B1-C1FA506DB3EA}"/>
                </a:ext>
              </a:extLst>
            </p:cNvPr>
            <p:cNvSpPr/>
            <p:nvPr/>
          </p:nvSpPr>
          <p:spPr>
            <a:xfrm>
              <a:off x="6417762" y="2873410"/>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E7E6E6"/>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SAP Analytics Cloud</a:t>
              </a:r>
            </a:p>
          </p:txBody>
        </p:sp>
        <p:sp>
          <p:nvSpPr>
            <p:cNvPr id="61" name="Freeform: Shape 60">
              <a:extLst>
                <a:ext uri="{FF2B5EF4-FFF2-40B4-BE49-F238E27FC236}">
                  <a16:creationId xmlns:a16="http://schemas.microsoft.com/office/drawing/2014/main" id="{83AF2A5F-7E0D-797D-0E2D-8AAE7EF7DD35}"/>
                </a:ext>
              </a:extLst>
            </p:cNvPr>
            <p:cNvSpPr/>
            <p:nvPr/>
          </p:nvSpPr>
          <p:spPr>
            <a:xfrm>
              <a:off x="6261600" y="3567440"/>
              <a:ext cx="676674" cy="277611"/>
            </a:xfrm>
            <a:custGeom>
              <a:avLst/>
              <a:gdLst>
                <a:gd name="f0" fmla="val w"/>
                <a:gd name="f1" fmla="val h"/>
                <a:gd name="f2" fmla="val 0"/>
                <a:gd name="f3" fmla="val 676672"/>
                <a:gd name="f4" fmla="val 277609"/>
                <a:gd name="f5" fmla="val 138804"/>
                <a:gd name="f6" fmla="*/ f0 1 676672"/>
                <a:gd name="f7" fmla="*/ f1 1 277609"/>
                <a:gd name="f8" fmla="+- f4 0 f2"/>
                <a:gd name="f9" fmla="+- f3 0 f2"/>
                <a:gd name="f10" fmla="*/ f9 1 676672"/>
                <a:gd name="f11" fmla="*/ f8 1 277609"/>
                <a:gd name="f12" fmla="*/ 0 1 f10"/>
                <a:gd name="f13" fmla="*/ 676672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676672" h="277609">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62" name="Freeform: Shape 61">
              <a:extLst>
                <a:ext uri="{FF2B5EF4-FFF2-40B4-BE49-F238E27FC236}">
                  <a16:creationId xmlns:a16="http://schemas.microsoft.com/office/drawing/2014/main" id="{12A8DC88-580D-AE8D-E931-A089A1B57293}"/>
                </a:ext>
              </a:extLst>
            </p:cNvPr>
            <p:cNvSpPr/>
            <p:nvPr/>
          </p:nvSpPr>
          <p:spPr>
            <a:xfrm>
              <a:off x="5741087" y="3845042"/>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4472C4"/>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dirty="0">
                  <a:solidFill>
                    <a:schemeClr val="bg1"/>
                  </a:solidFill>
                  <a:uFillTx/>
                  <a:latin typeface="Calibri"/>
                </a:rPr>
                <a:t>Planning &amp; Budgeting</a:t>
              </a:r>
            </a:p>
          </p:txBody>
        </p:sp>
        <p:sp>
          <p:nvSpPr>
            <p:cNvPr id="63" name="Freeform: Shape 62">
              <a:extLst>
                <a:ext uri="{FF2B5EF4-FFF2-40B4-BE49-F238E27FC236}">
                  <a16:creationId xmlns:a16="http://schemas.microsoft.com/office/drawing/2014/main" id="{B679B925-DBA8-678A-CF4A-38975BCE92B3}"/>
                </a:ext>
              </a:extLst>
            </p:cNvPr>
            <p:cNvSpPr/>
            <p:nvPr/>
          </p:nvSpPr>
          <p:spPr>
            <a:xfrm>
              <a:off x="1524899" y="4539072"/>
              <a:ext cx="4736701" cy="277611"/>
            </a:xfrm>
            <a:custGeom>
              <a:avLst/>
              <a:gdLst>
                <a:gd name="f0" fmla="val w"/>
                <a:gd name="f1" fmla="val h"/>
                <a:gd name="f2" fmla="val 0"/>
                <a:gd name="f3" fmla="val 4736705"/>
                <a:gd name="f4" fmla="val 277609"/>
                <a:gd name="f5" fmla="val 138804"/>
                <a:gd name="f6" fmla="*/ f0 1 4736705"/>
                <a:gd name="f7" fmla="*/ f1 1 277609"/>
                <a:gd name="f8" fmla="+- f4 0 f2"/>
                <a:gd name="f9" fmla="+- f3 0 f2"/>
                <a:gd name="f10" fmla="*/ f9 1 4736705"/>
                <a:gd name="f11" fmla="*/ f8 1 277609"/>
                <a:gd name="f12" fmla="*/ 0 1 f10"/>
                <a:gd name="f13" fmla="*/ 4736705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4736705" h="277609">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64" name="Freeform: Shape 63">
              <a:extLst>
                <a:ext uri="{FF2B5EF4-FFF2-40B4-BE49-F238E27FC236}">
                  <a16:creationId xmlns:a16="http://schemas.microsoft.com/office/drawing/2014/main" id="{85F04D71-8A86-00D8-0644-711508073A46}"/>
                </a:ext>
              </a:extLst>
            </p:cNvPr>
            <p:cNvSpPr/>
            <p:nvPr/>
          </p:nvSpPr>
          <p:spPr>
            <a:xfrm>
              <a:off x="1004386"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Workforce Planning</a:t>
              </a:r>
            </a:p>
          </p:txBody>
        </p:sp>
        <p:sp>
          <p:nvSpPr>
            <p:cNvPr id="65" name="Freeform: Shape 64">
              <a:extLst>
                <a:ext uri="{FF2B5EF4-FFF2-40B4-BE49-F238E27FC236}">
                  <a16:creationId xmlns:a16="http://schemas.microsoft.com/office/drawing/2014/main" id="{3EEB4C22-B4D3-0A92-0DDC-50FE7250B547}"/>
                </a:ext>
              </a:extLst>
            </p:cNvPr>
            <p:cNvSpPr/>
            <p:nvPr/>
          </p:nvSpPr>
          <p:spPr>
            <a:xfrm>
              <a:off x="2878247" y="4539072"/>
              <a:ext cx="3383362" cy="277611"/>
            </a:xfrm>
            <a:custGeom>
              <a:avLst/>
              <a:gdLst>
                <a:gd name="f0" fmla="val w"/>
                <a:gd name="f1" fmla="val h"/>
                <a:gd name="f2" fmla="val 0"/>
                <a:gd name="f3" fmla="val 3383360"/>
                <a:gd name="f4" fmla="val 277609"/>
                <a:gd name="f5" fmla="val 138804"/>
                <a:gd name="f6" fmla="*/ f0 1 3383360"/>
                <a:gd name="f7" fmla="*/ f1 1 277609"/>
                <a:gd name="f8" fmla="+- f4 0 f2"/>
                <a:gd name="f9" fmla="+- f3 0 f2"/>
                <a:gd name="f10" fmla="*/ f9 1 3383360"/>
                <a:gd name="f11" fmla="*/ f8 1 277609"/>
                <a:gd name="f12" fmla="*/ 0 1 f10"/>
                <a:gd name="f13" fmla="*/ 3383360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383360" h="277609">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66" name="Freeform: Shape 65">
              <a:extLst>
                <a:ext uri="{FF2B5EF4-FFF2-40B4-BE49-F238E27FC236}">
                  <a16:creationId xmlns:a16="http://schemas.microsoft.com/office/drawing/2014/main" id="{888366E7-7215-AA2D-63FE-B7172A78B3CA}"/>
                </a:ext>
              </a:extLst>
            </p:cNvPr>
            <p:cNvSpPr/>
            <p:nvPr/>
          </p:nvSpPr>
          <p:spPr>
            <a:xfrm>
              <a:off x="2357725"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Salary &amp; Benefits Planning</a:t>
              </a:r>
            </a:p>
          </p:txBody>
        </p:sp>
        <p:sp>
          <p:nvSpPr>
            <p:cNvPr id="67" name="Freeform: Shape 66">
              <a:extLst>
                <a:ext uri="{FF2B5EF4-FFF2-40B4-BE49-F238E27FC236}">
                  <a16:creationId xmlns:a16="http://schemas.microsoft.com/office/drawing/2014/main" id="{A5A42927-B4D1-1351-0A64-58585AAE5DE2}"/>
                </a:ext>
              </a:extLst>
            </p:cNvPr>
            <p:cNvSpPr/>
            <p:nvPr/>
          </p:nvSpPr>
          <p:spPr>
            <a:xfrm>
              <a:off x="4231587" y="4539072"/>
              <a:ext cx="2030013" cy="277611"/>
            </a:xfrm>
            <a:custGeom>
              <a:avLst/>
              <a:gdLst>
                <a:gd name="f0" fmla="val w"/>
                <a:gd name="f1" fmla="val h"/>
                <a:gd name="f2" fmla="val 0"/>
                <a:gd name="f3" fmla="val 2030016"/>
                <a:gd name="f4" fmla="val 277609"/>
                <a:gd name="f5" fmla="val 138804"/>
                <a:gd name="f6" fmla="*/ f0 1 2030016"/>
                <a:gd name="f7" fmla="*/ f1 1 277609"/>
                <a:gd name="f8" fmla="+- f4 0 f2"/>
                <a:gd name="f9" fmla="+- f3 0 f2"/>
                <a:gd name="f10" fmla="*/ f9 1 2030016"/>
                <a:gd name="f11" fmla="*/ f8 1 277609"/>
                <a:gd name="f12" fmla="*/ 0 1 f10"/>
                <a:gd name="f13" fmla="*/ 2030016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2030016" h="277609">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68" name="Freeform: Shape 67">
              <a:extLst>
                <a:ext uri="{FF2B5EF4-FFF2-40B4-BE49-F238E27FC236}">
                  <a16:creationId xmlns:a16="http://schemas.microsoft.com/office/drawing/2014/main" id="{80DE80CD-81DB-C916-CCBB-242A3FD55675}"/>
                </a:ext>
              </a:extLst>
            </p:cNvPr>
            <p:cNvSpPr/>
            <p:nvPr/>
          </p:nvSpPr>
          <p:spPr>
            <a:xfrm>
              <a:off x="3711074"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OPEX Planning</a:t>
              </a:r>
            </a:p>
          </p:txBody>
        </p:sp>
        <p:sp>
          <p:nvSpPr>
            <p:cNvPr id="69" name="Freeform: Shape 68">
              <a:extLst>
                <a:ext uri="{FF2B5EF4-FFF2-40B4-BE49-F238E27FC236}">
                  <a16:creationId xmlns:a16="http://schemas.microsoft.com/office/drawing/2014/main" id="{944824D2-B33D-CDF4-6890-B0BDD9DD1E7B}"/>
                </a:ext>
              </a:extLst>
            </p:cNvPr>
            <p:cNvSpPr/>
            <p:nvPr/>
          </p:nvSpPr>
          <p:spPr>
            <a:xfrm>
              <a:off x="5584935" y="4539072"/>
              <a:ext cx="676674" cy="277611"/>
            </a:xfrm>
            <a:custGeom>
              <a:avLst/>
              <a:gdLst>
                <a:gd name="f0" fmla="val w"/>
                <a:gd name="f1" fmla="val h"/>
                <a:gd name="f2" fmla="val 0"/>
                <a:gd name="f3" fmla="val 676672"/>
                <a:gd name="f4" fmla="val 277609"/>
                <a:gd name="f5" fmla="val 138804"/>
                <a:gd name="f6" fmla="*/ f0 1 676672"/>
                <a:gd name="f7" fmla="*/ f1 1 277609"/>
                <a:gd name="f8" fmla="+- f4 0 f2"/>
                <a:gd name="f9" fmla="+- f3 0 f2"/>
                <a:gd name="f10" fmla="*/ f9 1 676672"/>
                <a:gd name="f11" fmla="*/ f8 1 277609"/>
                <a:gd name="f12" fmla="*/ 0 1 f10"/>
                <a:gd name="f13" fmla="*/ 676672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676672" h="277609">
                  <a:moveTo>
                    <a:pt x="f3" y="f2"/>
                  </a:moveTo>
                  <a:lnTo>
                    <a:pt x="f3" y="f5"/>
                  </a:lnTo>
                  <a:lnTo>
                    <a:pt x="f2" y="f5"/>
                  </a:lnTo>
                  <a:lnTo>
                    <a:pt x="f2"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97" name="Freeform: Shape 96">
              <a:extLst>
                <a:ext uri="{FF2B5EF4-FFF2-40B4-BE49-F238E27FC236}">
                  <a16:creationId xmlns:a16="http://schemas.microsoft.com/office/drawing/2014/main" id="{6E275202-0D1F-18CB-10C7-79E3065C4082}"/>
                </a:ext>
              </a:extLst>
            </p:cNvPr>
            <p:cNvSpPr/>
            <p:nvPr/>
          </p:nvSpPr>
          <p:spPr>
            <a:xfrm>
              <a:off x="5064413"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Ongoing CAPEX Planning</a:t>
              </a:r>
            </a:p>
          </p:txBody>
        </p:sp>
        <p:sp>
          <p:nvSpPr>
            <p:cNvPr id="98" name="Freeform: Shape 97">
              <a:extLst>
                <a:ext uri="{FF2B5EF4-FFF2-40B4-BE49-F238E27FC236}">
                  <a16:creationId xmlns:a16="http://schemas.microsoft.com/office/drawing/2014/main" id="{5585C45D-C81A-EC2D-4D02-7AC9542EB7D3}"/>
                </a:ext>
              </a:extLst>
            </p:cNvPr>
            <p:cNvSpPr/>
            <p:nvPr/>
          </p:nvSpPr>
          <p:spPr>
            <a:xfrm>
              <a:off x="6261600" y="4539072"/>
              <a:ext cx="676674" cy="277611"/>
            </a:xfrm>
            <a:custGeom>
              <a:avLst/>
              <a:gdLst>
                <a:gd name="f0" fmla="val w"/>
                <a:gd name="f1" fmla="val h"/>
                <a:gd name="f2" fmla="val 0"/>
                <a:gd name="f3" fmla="val 676672"/>
                <a:gd name="f4" fmla="val 277609"/>
                <a:gd name="f5" fmla="val 138804"/>
                <a:gd name="f6" fmla="*/ f0 1 676672"/>
                <a:gd name="f7" fmla="*/ f1 1 277609"/>
                <a:gd name="f8" fmla="+- f4 0 f2"/>
                <a:gd name="f9" fmla="+- f3 0 f2"/>
                <a:gd name="f10" fmla="*/ f9 1 676672"/>
                <a:gd name="f11" fmla="*/ f8 1 277609"/>
                <a:gd name="f12" fmla="*/ 0 1 f10"/>
                <a:gd name="f13" fmla="*/ 676672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676672" h="277609">
                  <a:moveTo>
                    <a:pt x="f2" y="f2"/>
                  </a:moveTo>
                  <a:lnTo>
                    <a:pt x="f2" y="f5"/>
                  </a:lnTo>
                  <a:lnTo>
                    <a:pt x="f3" y="f5"/>
                  </a:lnTo>
                  <a:lnTo>
                    <a:pt x="f3"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99" name="Freeform: Shape 98">
              <a:extLst>
                <a:ext uri="{FF2B5EF4-FFF2-40B4-BE49-F238E27FC236}">
                  <a16:creationId xmlns:a16="http://schemas.microsoft.com/office/drawing/2014/main" id="{4BB8FF10-1F7F-E10C-2F30-8649B90F4434}"/>
                </a:ext>
              </a:extLst>
            </p:cNvPr>
            <p:cNvSpPr/>
            <p:nvPr/>
          </p:nvSpPr>
          <p:spPr>
            <a:xfrm>
              <a:off x="6417762"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New Capital Project Planning</a:t>
              </a:r>
            </a:p>
          </p:txBody>
        </p:sp>
        <p:sp>
          <p:nvSpPr>
            <p:cNvPr id="100" name="Freeform: Shape 99">
              <a:extLst>
                <a:ext uri="{FF2B5EF4-FFF2-40B4-BE49-F238E27FC236}">
                  <a16:creationId xmlns:a16="http://schemas.microsoft.com/office/drawing/2014/main" id="{0AB3177C-8202-3DBF-50E1-A0BEFE1AF6F3}"/>
                </a:ext>
              </a:extLst>
            </p:cNvPr>
            <p:cNvSpPr/>
            <p:nvPr/>
          </p:nvSpPr>
          <p:spPr>
            <a:xfrm>
              <a:off x="6261600" y="4539072"/>
              <a:ext cx="2030013" cy="277611"/>
            </a:xfrm>
            <a:custGeom>
              <a:avLst/>
              <a:gdLst>
                <a:gd name="f0" fmla="val w"/>
                <a:gd name="f1" fmla="val h"/>
                <a:gd name="f2" fmla="val 0"/>
                <a:gd name="f3" fmla="val 2030016"/>
                <a:gd name="f4" fmla="val 277609"/>
                <a:gd name="f5" fmla="val 138804"/>
                <a:gd name="f6" fmla="*/ f0 1 2030016"/>
                <a:gd name="f7" fmla="*/ f1 1 277609"/>
                <a:gd name="f8" fmla="+- f4 0 f2"/>
                <a:gd name="f9" fmla="+- f3 0 f2"/>
                <a:gd name="f10" fmla="*/ f9 1 2030016"/>
                <a:gd name="f11" fmla="*/ f8 1 277609"/>
                <a:gd name="f12" fmla="*/ 0 1 f10"/>
                <a:gd name="f13" fmla="*/ 2030016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2030016" h="277609">
                  <a:moveTo>
                    <a:pt x="f2" y="f2"/>
                  </a:moveTo>
                  <a:lnTo>
                    <a:pt x="f2" y="f5"/>
                  </a:lnTo>
                  <a:lnTo>
                    <a:pt x="f3" y="f5"/>
                  </a:lnTo>
                  <a:lnTo>
                    <a:pt x="f3"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01" name="Freeform: Shape 100">
              <a:extLst>
                <a:ext uri="{FF2B5EF4-FFF2-40B4-BE49-F238E27FC236}">
                  <a16:creationId xmlns:a16="http://schemas.microsoft.com/office/drawing/2014/main" id="{28973B60-29FC-ADB2-F6BE-06AEC5E7A0D8}"/>
                </a:ext>
              </a:extLst>
            </p:cNvPr>
            <p:cNvSpPr/>
            <p:nvPr/>
          </p:nvSpPr>
          <p:spPr>
            <a:xfrm>
              <a:off x="7771101"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Asset Management Planning</a:t>
              </a:r>
            </a:p>
          </p:txBody>
        </p:sp>
        <p:sp>
          <p:nvSpPr>
            <p:cNvPr id="102" name="Freeform: Shape 101">
              <a:extLst>
                <a:ext uri="{FF2B5EF4-FFF2-40B4-BE49-F238E27FC236}">
                  <a16:creationId xmlns:a16="http://schemas.microsoft.com/office/drawing/2014/main" id="{B06137A2-8312-9606-B54F-02617E92AEAE}"/>
                </a:ext>
              </a:extLst>
            </p:cNvPr>
            <p:cNvSpPr/>
            <p:nvPr/>
          </p:nvSpPr>
          <p:spPr>
            <a:xfrm>
              <a:off x="6261600" y="4539072"/>
              <a:ext cx="3383362" cy="277611"/>
            </a:xfrm>
            <a:custGeom>
              <a:avLst/>
              <a:gdLst>
                <a:gd name="f0" fmla="val w"/>
                <a:gd name="f1" fmla="val h"/>
                <a:gd name="f2" fmla="val 0"/>
                <a:gd name="f3" fmla="val 3383360"/>
                <a:gd name="f4" fmla="val 277609"/>
                <a:gd name="f5" fmla="val 138804"/>
                <a:gd name="f6" fmla="*/ f0 1 3383360"/>
                <a:gd name="f7" fmla="*/ f1 1 277609"/>
                <a:gd name="f8" fmla="+- f4 0 f2"/>
                <a:gd name="f9" fmla="+- f3 0 f2"/>
                <a:gd name="f10" fmla="*/ f9 1 3383360"/>
                <a:gd name="f11" fmla="*/ f8 1 277609"/>
                <a:gd name="f12" fmla="*/ 0 1 f10"/>
                <a:gd name="f13" fmla="*/ 3383360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3383360" h="277609">
                  <a:moveTo>
                    <a:pt x="f2" y="f2"/>
                  </a:moveTo>
                  <a:lnTo>
                    <a:pt x="f2" y="f5"/>
                  </a:lnTo>
                  <a:lnTo>
                    <a:pt x="f3" y="f5"/>
                  </a:lnTo>
                  <a:lnTo>
                    <a:pt x="f3"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03" name="Freeform: Shape 102">
              <a:extLst>
                <a:ext uri="{FF2B5EF4-FFF2-40B4-BE49-F238E27FC236}">
                  <a16:creationId xmlns:a16="http://schemas.microsoft.com/office/drawing/2014/main" id="{9B65E7DF-B7D6-06AF-B070-EE1D94B3A790}"/>
                </a:ext>
              </a:extLst>
            </p:cNvPr>
            <p:cNvSpPr/>
            <p:nvPr/>
          </p:nvSpPr>
          <p:spPr>
            <a:xfrm>
              <a:off x="9124450"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Profitability Planning</a:t>
              </a:r>
            </a:p>
          </p:txBody>
        </p:sp>
        <p:sp>
          <p:nvSpPr>
            <p:cNvPr id="104" name="Freeform: Shape 103">
              <a:extLst>
                <a:ext uri="{FF2B5EF4-FFF2-40B4-BE49-F238E27FC236}">
                  <a16:creationId xmlns:a16="http://schemas.microsoft.com/office/drawing/2014/main" id="{008592AE-C42D-B724-5D57-C7A2A87983C7}"/>
                </a:ext>
              </a:extLst>
            </p:cNvPr>
            <p:cNvSpPr/>
            <p:nvPr/>
          </p:nvSpPr>
          <p:spPr>
            <a:xfrm>
              <a:off x="6261600" y="4539072"/>
              <a:ext cx="4736701" cy="277611"/>
            </a:xfrm>
            <a:custGeom>
              <a:avLst/>
              <a:gdLst>
                <a:gd name="f0" fmla="val w"/>
                <a:gd name="f1" fmla="val h"/>
                <a:gd name="f2" fmla="val 0"/>
                <a:gd name="f3" fmla="val 4736705"/>
                <a:gd name="f4" fmla="val 277609"/>
                <a:gd name="f5" fmla="val 138804"/>
                <a:gd name="f6" fmla="*/ f0 1 4736705"/>
                <a:gd name="f7" fmla="*/ f1 1 277609"/>
                <a:gd name="f8" fmla="+- f4 0 f2"/>
                <a:gd name="f9" fmla="+- f3 0 f2"/>
                <a:gd name="f10" fmla="*/ f9 1 4736705"/>
                <a:gd name="f11" fmla="*/ f8 1 277609"/>
                <a:gd name="f12" fmla="*/ 0 1 f10"/>
                <a:gd name="f13" fmla="*/ 4736705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4736705" h="277609">
                  <a:moveTo>
                    <a:pt x="f2" y="f2"/>
                  </a:moveTo>
                  <a:lnTo>
                    <a:pt x="f2" y="f5"/>
                  </a:lnTo>
                  <a:lnTo>
                    <a:pt x="f3" y="f5"/>
                  </a:lnTo>
                  <a:lnTo>
                    <a:pt x="f3"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05" name="Freeform: Shape 104">
              <a:extLst>
                <a:ext uri="{FF2B5EF4-FFF2-40B4-BE49-F238E27FC236}">
                  <a16:creationId xmlns:a16="http://schemas.microsoft.com/office/drawing/2014/main" id="{19FEADDA-85D5-6E17-730F-78DA532383A1}"/>
                </a:ext>
              </a:extLst>
            </p:cNvPr>
            <p:cNvSpPr/>
            <p:nvPr/>
          </p:nvSpPr>
          <p:spPr>
            <a:xfrm>
              <a:off x="10477789" y="4816675"/>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a:solidFill>
                    <a:srgbClr val="000000"/>
                  </a:solidFill>
                  <a:uFillTx/>
                  <a:latin typeface="Calibri"/>
                </a:rPr>
                <a:t>Integrated Risk Profiling &amp; CAPEX Planning</a:t>
              </a:r>
            </a:p>
          </p:txBody>
        </p:sp>
        <p:sp>
          <p:nvSpPr>
            <p:cNvPr id="106" name="Freeform: Shape 105">
              <a:extLst>
                <a:ext uri="{FF2B5EF4-FFF2-40B4-BE49-F238E27FC236}">
                  <a16:creationId xmlns:a16="http://schemas.microsoft.com/office/drawing/2014/main" id="{9F893B90-DADC-1C77-570E-B804DFEB65E7}"/>
                </a:ext>
              </a:extLst>
            </p:cNvPr>
            <p:cNvSpPr/>
            <p:nvPr/>
          </p:nvSpPr>
          <p:spPr>
            <a:xfrm>
              <a:off x="6938275" y="3567440"/>
              <a:ext cx="676674" cy="277611"/>
            </a:xfrm>
            <a:custGeom>
              <a:avLst/>
              <a:gdLst>
                <a:gd name="f0" fmla="val w"/>
                <a:gd name="f1" fmla="val h"/>
                <a:gd name="f2" fmla="val 0"/>
                <a:gd name="f3" fmla="val 676672"/>
                <a:gd name="f4" fmla="val 277609"/>
                <a:gd name="f5" fmla="val 138804"/>
                <a:gd name="f6" fmla="*/ f0 1 676672"/>
                <a:gd name="f7" fmla="*/ f1 1 277609"/>
                <a:gd name="f8" fmla="+- f4 0 f2"/>
                <a:gd name="f9" fmla="+- f3 0 f2"/>
                <a:gd name="f10" fmla="*/ f9 1 676672"/>
                <a:gd name="f11" fmla="*/ f8 1 277609"/>
                <a:gd name="f12" fmla="*/ 0 1 f10"/>
                <a:gd name="f13" fmla="*/ 676672 1 f10"/>
                <a:gd name="f14" fmla="*/ 0 1 f11"/>
                <a:gd name="f15" fmla="*/ 27760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676672" h="277609">
                  <a:moveTo>
                    <a:pt x="f2" y="f2"/>
                  </a:moveTo>
                  <a:lnTo>
                    <a:pt x="f2" y="f5"/>
                  </a:lnTo>
                  <a:lnTo>
                    <a:pt x="f3" y="f5"/>
                  </a:lnTo>
                  <a:lnTo>
                    <a:pt x="f3" y="f4"/>
                  </a:lnTo>
                </a:path>
              </a:pathLst>
            </a:custGeom>
            <a:noFill/>
            <a:ln w="6345" cap="flat">
              <a:solidFill>
                <a:srgbClr val="000000"/>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107" name="Freeform: Shape 106">
              <a:extLst>
                <a:ext uri="{FF2B5EF4-FFF2-40B4-BE49-F238E27FC236}">
                  <a16:creationId xmlns:a16="http://schemas.microsoft.com/office/drawing/2014/main" id="{EC525A6D-1D43-8B3A-B970-F3EC4DFE19D0}"/>
                </a:ext>
              </a:extLst>
            </p:cNvPr>
            <p:cNvSpPr/>
            <p:nvPr/>
          </p:nvSpPr>
          <p:spPr>
            <a:xfrm>
              <a:off x="7094436" y="3845042"/>
              <a:ext cx="1041035" cy="694020"/>
            </a:xfrm>
            <a:custGeom>
              <a:avLst/>
              <a:gdLst>
                <a:gd name="f0" fmla="val 10800000"/>
                <a:gd name="f1" fmla="val 5400000"/>
                <a:gd name="f2" fmla="val 180"/>
                <a:gd name="f3" fmla="val w"/>
                <a:gd name="f4" fmla="val h"/>
                <a:gd name="f5" fmla="val 0"/>
                <a:gd name="f6" fmla="val 1041034"/>
                <a:gd name="f7" fmla="val 694022"/>
                <a:gd name="f8" fmla="val 69402"/>
                <a:gd name="f9" fmla="val 31072"/>
                <a:gd name="f10" fmla="val 971632"/>
                <a:gd name="f11" fmla="val 1009962"/>
                <a:gd name="f12" fmla="val 624620"/>
                <a:gd name="f13" fmla="val 662950"/>
                <a:gd name="f14" fmla="+- 0 0 -90"/>
                <a:gd name="f15" fmla="*/ f3 1 1041034"/>
                <a:gd name="f16" fmla="*/ f4 1 694022"/>
                <a:gd name="f17" fmla="+- f7 0 f5"/>
                <a:gd name="f18" fmla="+- f6 0 f5"/>
                <a:gd name="f19" fmla="*/ f14 f0 1"/>
                <a:gd name="f20" fmla="*/ f18 1 1041034"/>
                <a:gd name="f21" fmla="*/ f17 1 694022"/>
                <a:gd name="f22" fmla="*/ 0 f18 1"/>
                <a:gd name="f23" fmla="*/ 69402 f17 1"/>
                <a:gd name="f24" fmla="*/ 69402 f18 1"/>
                <a:gd name="f25" fmla="*/ 0 f17 1"/>
                <a:gd name="f26" fmla="*/ 971632 f18 1"/>
                <a:gd name="f27" fmla="*/ 1041034 f18 1"/>
                <a:gd name="f28" fmla="*/ 624620 f17 1"/>
                <a:gd name="f29" fmla="*/ 694022 f17 1"/>
                <a:gd name="f30" fmla="*/ f19 1 f2"/>
                <a:gd name="f31" fmla="*/ f22 1 1041034"/>
                <a:gd name="f32" fmla="*/ f23 1 694022"/>
                <a:gd name="f33" fmla="*/ f24 1 1041034"/>
                <a:gd name="f34" fmla="*/ f25 1 694022"/>
                <a:gd name="f35" fmla="*/ f26 1 1041034"/>
                <a:gd name="f36" fmla="*/ f27 1 1041034"/>
                <a:gd name="f37" fmla="*/ f28 1 694022"/>
                <a:gd name="f38" fmla="*/ f29 1 694022"/>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041034" h="694022">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4472C4"/>
            </a:solidFill>
            <a:ln cap="flat">
              <a:noFill/>
              <a:prstDash val="solid"/>
            </a:ln>
          </p:spPr>
          <p:txBody>
            <a:bodyPr vert="horz" wrap="square" lIns="62234" tIns="62234" rIns="62234" bIns="62234" anchor="ctr" anchorCtr="1" compatLnSpc="1">
              <a:noAutofit/>
            </a:bodyPr>
            <a:lstStyle/>
            <a:p>
              <a:pPr marL="0" marR="0" lvl="0" indent="0" algn="ctr" defTabSz="488947" rtl="0" fontAlgn="auto" hangingPunct="1">
                <a:lnSpc>
                  <a:spcPct val="90000"/>
                </a:lnSpc>
                <a:spcBef>
                  <a:spcPts val="0"/>
                </a:spcBef>
                <a:spcAft>
                  <a:spcPts val="500"/>
                </a:spcAft>
                <a:buNone/>
                <a:tabLst/>
                <a:defRPr sz="1800" b="0" i="0" u="none" strike="noStrike" kern="0" cap="none" spc="0" baseline="0">
                  <a:solidFill>
                    <a:srgbClr val="000000"/>
                  </a:solidFill>
                  <a:uFillTx/>
                </a:defRPr>
              </a:pPr>
              <a:r>
                <a:rPr lang="en-US" sz="1100" b="1" i="0" u="none" strike="noStrike" kern="1200" cap="none" spc="0" baseline="0" dirty="0">
                  <a:solidFill>
                    <a:schemeClr val="bg1"/>
                  </a:solidFill>
                  <a:uFillTx/>
                  <a:latin typeface="Calibri"/>
                </a:rPr>
                <a:t>Custom Widgets</a:t>
              </a:r>
            </a:p>
          </p:txBody>
        </p:sp>
      </p:grpSp>
      <p:sp>
        <p:nvSpPr>
          <p:cNvPr id="108" name="TextBox 33">
            <a:extLst>
              <a:ext uri="{FF2B5EF4-FFF2-40B4-BE49-F238E27FC236}">
                <a16:creationId xmlns:a16="http://schemas.microsoft.com/office/drawing/2014/main" id="{9FCC9FF7-BEB9-38F9-8CD8-9B9400EAC6E6}"/>
              </a:ext>
            </a:extLst>
          </p:cNvPr>
          <p:cNvSpPr txBox="1"/>
          <p:nvPr/>
        </p:nvSpPr>
        <p:spPr>
          <a:xfrm>
            <a:off x="1747802" y="2270464"/>
            <a:ext cx="8977048" cy="276999"/>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ID" sz="1200" b="0" i="0" u="none" strike="noStrike" kern="1200" cap="none" spc="0" baseline="0" dirty="0">
                <a:solidFill>
                  <a:srgbClr val="2B2B2B"/>
                </a:solidFill>
                <a:uFillTx/>
                <a:latin typeface="Montserrat"/>
              </a:rPr>
              <a:t>Our planning &amp; budgeting accelerators, built on the SAP Analytics Cloud platform, can be divided as follows:</a:t>
            </a:r>
            <a:endParaRPr lang="en-US" sz="1200" b="0" i="0" u="none" strike="noStrike" kern="1200" cap="none" spc="0" baseline="0" dirty="0">
              <a:solidFill>
                <a:srgbClr val="2B2B2B"/>
              </a:solidFill>
              <a:uFillTx/>
              <a:latin typeface="Montserrat"/>
            </a:endParaRPr>
          </a:p>
        </p:txBody>
      </p:sp>
    </p:spTree>
    <p:extLst>
      <p:ext uri="{BB962C8B-B14F-4D97-AF65-F5344CB8AC3E}">
        <p14:creationId xmlns:p14="http://schemas.microsoft.com/office/powerpoint/2010/main" val="943431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3534" y="584079"/>
            <a:ext cx="11971347" cy="1036475"/>
          </a:xfrm>
        </p:spPr>
        <p:txBody>
          <a:bodyPr lIns="91440" tIns="45720" rIns="91440" bIns="45720" anchor="ctr"/>
          <a:lstStyle/>
          <a:p>
            <a:pPr marL="0" lvl="0" indent="0" algn="ctr">
              <a:buNone/>
            </a:pPr>
            <a:r>
              <a:rPr lang="en-ID" sz="2800" b="1" dirty="0">
                <a:solidFill>
                  <a:srgbClr val="FFFFFF"/>
                </a:solidFill>
                <a:latin typeface="Montserrat" pitchFamily="2"/>
              </a:rPr>
              <a:t>Business Application Built on SAP SAC</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2" name="TextBox 33">
            <a:extLst>
              <a:ext uri="{FF2B5EF4-FFF2-40B4-BE49-F238E27FC236}">
                <a16:creationId xmlns:a16="http://schemas.microsoft.com/office/drawing/2014/main" id="{A2696E7B-743C-82D0-AE5A-39946165D41A}"/>
              </a:ext>
            </a:extLst>
          </p:cNvPr>
          <p:cNvSpPr txBox="1"/>
          <p:nvPr/>
        </p:nvSpPr>
        <p:spPr>
          <a:xfrm>
            <a:off x="274773" y="2279412"/>
            <a:ext cx="11629407" cy="292388"/>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ID" sz="1300" b="0" i="0" u="none" strike="noStrike" kern="1200" cap="none" spc="0" baseline="0" dirty="0">
                <a:solidFill>
                  <a:srgbClr val="2B2B2B"/>
                </a:solidFill>
                <a:uFillTx/>
                <a:latin typeface="Montserrat"/>
              </a:rPr>
              <a:t>Using the SAP Analytics Cloud platform, we have built our Asset Retirement Obligation Management Template as a business application</a:t>
            </a:r>
            <a:endParaRPr lang="en-US" sz="1300" b="0" i="0" u="none" strike="noStrike" kern="1200" cap="none" spc="0" baseline="0" dirty="0">
              <a:solidFill>
                <a:srgbClr val="000000"/>
              </a:solidFill>
              <a:uFillTx/>
              <a:latin typeface="Montserrat"/>
            </a:endParaRPr>
          </a:p>
        </p:txBody>
      </p:sp>
      <p:grpSp>
        <p:nvGrpSpPr>
          <p:cNvPr id="4" name="Content Placeholder 3">
            <a:extLst>
              <a:ext uri="{FF2B5EF4-FFF2-40B4-BE49-F238E27FC236}">
                <a16:creationId xmlns:a16="http://schemas.microsoft.com/office/drawing/2014/main" id="{7BDD3908-50FE-C194-99B9-5F33507CD8FB}"/>
              </a:ext>
            </a:extLst>
          </p:cNvPr>
          <p:cNvGrpSpPr/>
          <p:nvPr/>
        </p:nvGrpSpPr>
        <p:grpSpPr>
          <a:xfrm>
            <a:off x="5119953" y="2777598"/>
            <a:ext cx="1422559" cy="3603823"/>
            <a:chOff x="4906889" y="2807125"/>
            <a:chExt cx="1422559" cy="3603823"/>
          </a:xfrm>
        </p:grpSpPr>
        <p:sp>
          <p:nvSpPr>
            <p:cNvPr id="5" name="Freeform: Shape 4">
              <a:extLst>
                <a:ext uri="{FF2B5EF4-FFF2-40B4-BE49-F238E27FC236}">
                  <a16:creationId xmlns:a16="http://schemas.microsoft.com/office/drawing/2014/main" id="{068FE780-820C-7012-D132-23D9DC474544}"/>
                </a:ext>
              </a:extLst>
            </p:cNvPr>
            <p:cNvSpPr/>
            <p:nvPr/>
          </p:nvSpPr>
          <p:spPr>
            <a:xfrm>
              <a:off x="4906889" y="2807125"/>
              <a:ext cx="1422559" cy="948369"/>
            </a:xfrm>
            <a:custGeom>
              <a:avLst/>
              <a:gdLst>
                <a:gd name="f0" fmla="val 10800000"/>
                <a:gd name="f1" fmla="val 5400000"/>
                <a:gd name="f2" fmla="val 180"/>
                <a:gd name="f3" fmla="val w"/>
                <a:gd name="f4" fmla="val h"/>
                <a:gd name="f5" fmla="val 0"/>
                <a:gd name="f6" fmla="val 1422560"/>
                <a:gd name="f7" fmla="val 948373"/>
                <a:gd name="f8" fmla="val 94837"/>
                <a:gd name="f9" fmla="val 42460"/>
                <a:gd name="f10" fmla="val 1327723"/>
                <a:gd name="f11" fmla="val 1380100"/>
                <a:gd name="f12" fmla="val 853536"/>
                <a:gd name="f13" fmla="val 905913"/>
                <a:gd name="f14" fmla="+- 0 0 -90"/>
                <a:gd name="f15" fmla="*/ f3 1 1422560"/>
                <a:gd name="f16" fmla="*/ f4 1 948373"/>
                <a:gd name="f17" fmla="+- f7 0 f5"/>
                <a:gd name="f18" fmla="+- f6 0 f5"/>
                <a:gd name="f19" fmla="*/ f14 f0 1"/>
                <a:gd name="f20" fmla="*/ f18 1 1422560"/>
                <a:gd name="f21" fmla="*/ f17 1 948373"/>
                <a:gd name="f22" fmla="*/ 0 f18 1"/>
                <a:gd name="f23" fmla="*/ 94837 f17 1"/>
                <a:gd name="f24" fmla="*/ 94837 f18 1"/>
                <a:gd name="f25" fmla="*/ 0 f17 1"/>
                <a:gd name="f26" fmla="*/ 1327723 f18 1"/>
                <a:gd name="f27" fmla="*/ 1422560 f18 1"/>
                <a:gd name="f28" fmla="*/ 853536 f17 1"/>
                <a:gd name="f29" fmla="*/ 948373 f17 1"/>
                <a:gd name="f30" fmla="*/ f19 1 f2"/>
                <a:gd name="f31" fmla="*/ f22 1 1422560"/>
                <a:gd name="f32" fmla="*/ f23 1 948373"/>
                <a:gd name="f33" fmla="*/ f24 1 1422560"/>
                <a:gd name="f34" fmla="*/ f25 1 948373"/>
                <a:gd name="f35" fmla="*/ f26 1 1422560"/>
                <a:gd name="f36" fmla="*/ f27 1 1422560"/>
                <a:gd name="f37" fmla="*/ f28 1 948373"/>
                <a:gd name="f38" fmla="*/ f29 1 948373"/>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422560" h="948373">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E7E6E6"/>
            </a:solidFill>
            <a:ln cap="flat">
              <a:noFill/>
              <a:prstDash val="solid"/>
            </a:ln>
          </p:spPr>
          <p:txBody>
            <a:bodyPr vert="horz" wrap="square" lIns="81116" tIns="81116" rIns="81116" bIns="81116" anchor="ctr" anchorCtr="1" compatLnSpc="1">
              <a:noAutofit/>
            </a:bodyPr>
            <a:lstStyle/>
            <a:p>
              <a:pPr marL="0" marR="0" lvl="0" indent="0" algn="ctr" defTabSz="622304" rtl="0" fontAlgn="auto" hangingPunct="1">
                <a:lnSpc>
                  <a:spcPct val="90000"/>
                </a:lnSpc>
                <a:spcBef>
                  <a:spcPts val="0"/>
                </a:spcBef>
                <a:spcAft>
                  <a:spcPts val="600"/>
                </a:spcAft>
                <a:buNone/>
                <a:tabLst/>
                <a:defRPr sz="1800" b="0" i="0" u="none" strike="noStrike" kern="0" cap="none" spc="0" baseline="0">
                  <a:solidFill>
                    <a:srgbClr val="000000"/>
                  </a:solidFill>
                  <a:uFillTx/>
                </a:defRPr>
              </a:pPr>
              <a:r>
                <a:rPr lang="en-US" sz="1400" b="1" i="0" u="none" strike="noStrike" kern="1200" cap="none" spc="0" baseline="0" dirty="0">
                  <a:solidFill>
                    <a:srgbClr val="000000"/>
                  </a:solidFill>
                  <a:uFillTx/>
                  <a:latin typeface="Calibri"/>
                </a:rPr>
                <a:t>SAP Analytics Cloud</a:t>
              </a:r>
            </a:p>
          </p:txBody>
        </p:sp>
        <p:sp>
          <p:nvSpPr>
            <p:cNvPr id="6" name="Freeform: Shape 5">
              <a:extLst>
                <a:ext uri="{FF2B5EF4-FFF2-40B4-BE49-F238E27FC236}">
                  <a16:creationId xmlns:a16="http://schemas.microsoft.com/office/drawing/2014/main" id="{D4120097-32A2-8CD9-F032-F4E70B26FFF3}"/>
                </a:ext>
              </a:extLst>
            </p:cNvPr>
            <p:cNvSpPr/>
            <p:nvPr/>
          </p:nvSpPr>
          <p:spPr>
            <a:xfrm>
              <a:off x="5572454" y="3755504"/>
              <a:ext cx="91440" cy="379347"/>
            </a:xfrm>
            <a:custGeom>
              <a:avLst/>
              <a:gdLst>
                <a:gd name="f0" fmla="val w"/>
                <a:gd name="f1" fmla="val h"/>
                <a:gd name="f2" fmla="val 0"/>
                <a:gd name="f3" fmla="val 91440"/>
                <a:gd name="f4" fmla="val 379349"/>
                <a:gd name="f5" fmla="val 45720"/>
                <a:gd name="f6" fmla="*/ f0 1 91440"/>
                <a:gd name="f7" fmla="*/ f1 1 379349"/>
                <a:gd name="f8" fmla="+- f4 0 f2"/>
                <a:gd name="f9" fmla="+- f3 0 f2"/>
                <a:gd name="f10" fmla="*/ f9 1 91440"/>
                <a:gd name="f11" fmla="*/ f8 1 379349"/>
                <a:gd name="f12" fmla="*/ 0 1 f10"/>
                <a:gd name="f13" fmla="*/ 91440 1 f10"/>
                <a:gd name="f14" fmla="*/ 0 1 f11"/>
                <a:gd name="f15" fmla="*/ 37934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91440" h="379349">
                  <a:moveTo>
                    <a:pt x="f5" y="f2"/>
                  </a:moveTo>
                  <a:lnTo>
                    <a:pt x="f5" y="f4"/>
                  </a:lnTo>
                </a:path>
              </a:pathLst>
            </a:custGeom>
            <a:noFill/>
            <a:ln w="12701" cap="flat">
              <a:solidFill>
                <a:srgbClr val="34599C"/>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7" name="Freeform: Shape 6">
              <a:extLst>
                <a:ext uri="{FF2B5EF4-FFF2-40B4-BE49-F238E27FC236}">
                  <a16:creationId xmlns:a16="http://schemas.microsoft.com/office/drawing/2014/main" id="{53FA7C91-5961-CAFF-770A-24B476919092}"/>
                </a:ext>
              </a:extLst>
            </p:cNvPr>
            <p:cNvSpPr/>
            <p:nvPr/>
          </p:nvSpPr>
          <p:spPr>
            <a:xfrm>
              <a:off x="4906889" y="4134852"/>
              <a:ext cx="1422559" cy="948369"/>
            </a:xfrm>
            <a:custGeom>
              <a:avLst/>
              <a:gdLst>
                <a:gd name="f0" fmla="val 10800000"/>
                <a:gd name="f1" fmla="val 5400000"/>
                <a:gd name="f2" fmla="val 180"/>
                <a:gd name="f3" fmla="val w"/>
                <a:gd name="f4" fmla="val h"/>
                <a:gd name="f5" fmla="val 0"/>
                <a:gd name="f6" fmla="val 1422560"/>
                <a:gd name="f7" fmla="val 948373"/>
                <a:gd name="f8" fmla="val 94837"/>
                <a:gd name="f9" fmla="val 42460"/>
                <a:gd name="f10" fmla="val 1327723"/>
                <a:gd name="f11" fmla="val 1380100"/>
                <a:gd name="f12" fmla="val 853536"/>
                <a:gd name="f13" fmla="val 905913"/>
                <a:gd name="f14" fmla="+- 0 0 -90"/>
                <a:gd name="f15" fmla="*/ f3 1 1422560"/>
                <a:gd name="f16" fmla="*/ f4 1 948373"/>
                <a:gd name="f17" fmla="+- f7 0 f5"/>
                <a:gd name="f18" fmla="+- f6 0 f5"/>
                <a:gd name="f19" fmla="*/ f14 f0 1"/>
                <a:gd name="f20" fmla="*/ f18 1 1422560"/>
                <a:gd name="f21" fmla="*/ f17 1 948373"/>
                <a:gd name="f22" fmla="*/ 0 f18 1"/>
                <a:gd name="f23" fmla="*/ 94837 f17 1"/>
                <a:gd name="f24" fmla="*/ 94837 f18 1"/>
                <a:gd name="f25" fmla="*/ 0 f17 1"/>
                <a:gd name="f26" fmla="*/ 1327723 f18 1"/>
                <a:gd name="f27" fmla="*/ 1422560 f18 1"/>
                <a:gd name="f28" fmla="*/ 853536 f17 1"/>
                <a:gd name="f29" fmla="*/ 948373 f17 1"/>
                <a:gd name="f30" fmla="*/ f19 1 f2"/>
                <a:gd name="f31" fmla="*/ f22 1 1422560"/>
                <a:gd name="f32" fmla="*/ f23 1 948373"/>
                <a:gd name="f33" fmla="*/ f24 1 1422560"/>
                <a:gd name="f34" fmla="*/ f25 1 948373"/>
                <a:gd name="f35" fmla="*/ f26 1 1422560"/>
                <a:gd name="f36" fmla="*/ f27 1 1422560"/>
                <a:gd name="f37" fmla="*/ f28 1 948373"/>
                <a:gd name="f38" fmla="*/ f29 1 948373"/>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422560" h="948373">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4472C4"/>
            </a:solidFill>
            <a:ln w="9528" cap="flat">
              <a:solidFill>
                <a:srgbClr val="4472C4"/>
              </a:solidFill>
              <a:prstDash val="solid"/>
              <a:miter/>
            </a:ln>
          </p:spPr>
          <p:txBody>
            <a:bodyPr vert="horz" wrap="square" lIns="81116" tIns="81116" rIns="81116" bIns="81116" anchor="ctr" anchorCtr="1" compatLnSpc="1">
              <a:noAutofit/>
            </a:bodyPr>
            <a:lstStyle/>
            <a:p>
              <a:pPr marL="0" marR="0" lvl="0" indent="0" algn="ctr" defTabSz="622304" rtl="0" fontAlgn="auto" hangingPunct="1">
                <a:lnSpc>
                  <a:spcPct val="90000"/>
                </a:lnSpc>
                <a:spcBef>
                  <a:spcPts val="0"/>
                </a:spcBef>
                <a:spcAft>
                  <a:spcPts val="600"/>
                </a:spcAft>
                <a:buNone/>
                <a:tabLst/>
                <a:defRPr sz="1800" b="0" i="0" u="none" strike="noStrike" kern="0" cap="none" spc="0" baseline="0">
                  <a:solidFill>
                    <a:srgbClr val="000000"/>
                  </a:solidFill>
                  <a:uFillTx/>
                </a:defRPr>
              </a:pPr>
              <a:r>
                <a:rPr lang="en-US" sz="1400" b="1" i="0" u="none" strike="noStrike" kern="1200" cap="none" spc="0" baseline="0" dirty="0">
                  <a:solidFill>
                    <a:schemeClr val="bg1"/>
                  </a:solidFill>
                  <a:uFillTx/>
                  <a:latin typeface="Calibri"/>
                </a:rPr>
                <a:t>Business Application</a:t>
              </a:r>
            </a:p>
          </p:txBody>
        </p:sp>
        <p:sp>
          <p:nvSpPr>
            <p:cNvPr id="8" name="Freeform: Shape 7">
              <a:extLst>
                <a:ext uri="{FF2B5EF4-FFF2-40B4-BE49-F238E27FC236}">
                  <a16:creationId xmlns:a16="http://schemas.microsoft.com/office/drawing/2014/main" id="{E41AEE5E-AD6F-9829-3E3D-5D93792ED5CC}"/>
                </a:ext>
              </a:extLst>
            </p:cNvPr>
            <p:cNvSpPr/>
            <p:nvPr/>
          </p:nvSpPr>
          <p:spPr>
            <a:xfrm>
              <a:off x="5572454" y="5083222"/>
              <a:ext cx="91440" cy="379347"/>
            </a:xfrm>
            <a:custGeom>
              <a:avLst/>
              <a:gdLst>
                <a:gd name="f0" fmla="val w"/>
                <a:gd name="f1" fmla="val h"/>
                <a:gd name="f2" fmla="val 0"/>
                <a:gd name="f3" fmla="val 91440"/>
                <a:gd name="f4" fmla="val 379349"/>
                <a:gd name="f5" fmla="val 45720"/>
                <a:gd name="f6" fmla="*/ f0 1 91440"/>
                <a:gd name="f7" fmla="*/ f1 1 379349"/>
                <a:gd name="f8" fmla="+- f4 0 f2"/>
                <a:gd name="f9" fmla="+- f3 0 f2"/>
                <a:gd name="f10" fmla="*/ f9 1 91440"/>
                <a:gd name="f11" fmla="*/ f8 1 379349"/>
                <a:gd name="f12" fmla="*/ 0 1 f10"/>
                <a:gd name="f13" fmla="*/ 91440 1 f10"/>
                <a:gd name="f14" fmla="*/ 0 1 f11"/>
                <a:gd name="f15" fmla="*/ 379349 1 f11"/>
                <a:gd name="f16" fmla="*/ f12 f6 1"/>
                <a:gd name="f17" fmla="*/ f13 f6 1"/>
                <a:gd name="f18" fmla="*/ f15 f7 1"/>
                <a:gd name="f19" fmla="*/ f14 f7 1"/>
              </a:gdLst>
              <a:ahLst/>
              <a:cxnLst>
                <a:cxn ang="3cd4">
                  <a:pos x="hc" y="t"/>
                </a:cxn>
                <a:cxn ang="0">
                  <a:pos x="r" y="vc"/>
                </a:cxn>
                <a:cxn ang="cd4">
                  <a:pos x="hc" y="b"/>
                </a:cxn>
                <a:cxn ang="cd2">
                  <a:pos x="l" y="vc"/>
                </a:cxn>
              </a:cxnLst>
              <a:rect l="f16" t="f19" r="f17" b="f18"/>
              <a:pathLst>
                <a:path w="91440" h="379349">
                  <a:moveTo>
                    <a:pt x="f5" y="f2"/>
                  </a:moveTo>
                  <a:lnTo>
                    <a:pt x="f5" y="f4"/>
                  </a:lnTo>
                </a:path>
              </a:pathLst>
            </a:custGeom>
            <a:noFill/>
            <a:ln w="12701" cap="flat">
              <a:solidFill>
                <a:srgbClr val="3D67B1"/>
              </a:solidFill>
              <a:prstDash val="solid"/>
              <a:miter/>
            </a:ln>
          </p:spPr>
          <p:txBody>
            <a:bodyPr vert="horz" wrap="square" lIns="0" tIns="0" rIns="0" bIns="0" anchor="t"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CA" sz="1800" b="0" i="0" u="none" strike="noStrike" kern="1200" cap="none" spc="0" baseline="0">
                <a:solidFill>
                  <a:srgbClr val="000000"/>
                </a:solidFill>
                <a:uFillTx/>
                <a:latin typeface="Calibri"/>
              </a:endParaRPr>
            </a:p>
          </p:txBody>
        </p:sp>
        <p:sp>
          <p:nvSpPr>
            <p:cNvPr id="9" name="Freeform: Shape 8">
              <a:extLst>
                <a:ext uri="{FF2B5EF4-FFF2-40B4-BE49-F238E27FC236}">
                  <a16:creationId xmlns:a16="http://schemas.microsoft.com/office/drawing/2014/main" id="{D8134091-0534-769F-DEE6-8E367364C3EA}"/>
                </a:ext>
              </a:extLst>
            </p:cNvPr>
            <p:cNvSpPr/>
            <p:nvPr/>
          </p:nvSpPr>
          <p:spPr>
            <a:xfrm>
              <a:off x="4906889" y="5462579"/>
              <a:ext cx="1422559" cy="948369"/>
            </a:xfrm>
            <a:custGeom>
              <a:avLst/>
              <a:gdLst>
                <a:gd name="f0" fmla="val 10800000"/>
                <a:gd name="f1" fmla="val 5400000"/>
                <a:gd name="f2" fmla="val 180"/>
                <a:gd name="f3" fmla="val w"/>
                <a:gd name="f4" fmla="val h"/>
                <a:gd name="f5" fmla="val 0"/>
                <a:gd name="f6" fmla="val 1422560"/>
                <a:gd name="f7" fmla="val 948373"/>
                <a:gd name="f8" fmla="val 94837"/>
                <a:gd name="f9" fmla="val 42460"/>
                <a:gd name="f10" fmla="val 1327723"/>
                <a:gd name="f11" fmla="val 1380100"/>
                <a:gd name="f12" fmla="val 853536"/>
                <a:gd name="f13" fmla="val 905913"/>
                <a:gd name="f14" fmla="+- 0 0 -90"/>
                <a:gd name="f15" fmla="*/ f3 1 1422560"/>
                <a:gd name="f16" fmla="*/ f4 1 948373"/>
                <a:gd name="f17" fmla="+- f7 0 f5"/>
                <a:gd name="f18" fmla="+- f6 0 f5"/>
                <a:gd name="f19" fmla="*/ f14 f0 1"/>
                <a:gd name="f20" fmla="*/ f18 1 1422560"/>
                <a:gd name="f21" fmla="*/ f17 1 948373"/>
                <a:gd name="f22" fmla="*/ 0 f18 1"/>
                <a:gd name="f23" fmla="*/ 94837 f17 1"/>
                <a:gd name="f24" fmla="*/ 94837 f18 1"/>
                <a:gd name="f25" fmla="*/ 0 f17 1"/>
                <a:gd name="f26" fmla="*/ 1327723 f18 1"/>
                <a:gd name="f27" fmla="*/ 1422560 f18 1"/>
                <a:gd name="f28" fmla="*/ 853536 f17 1"/>
                <a:gd name="f29" fmla="*/ 948373 f17 1"/>
                <a:gd name="f30" fmla="*/ f19 1 f2"/>
                <a:gd name="f31" fmla="*/ f22 1 1422560"/>
                <a:gd name="f32" fmla="*/ f23 1 948373"/>
                <a:gd name="f33" fmla="*/ f24 1 1422560"/>
                <a:gd name="f34" fmla="*/ f25 1 948373"/>
                <a:gd name="f35" fmla="*/ f26 1 1422560"/>
                <a:gd name="f36" fmla="*/ f27 1 1422560"/>
                <a:gd name="f37" fmla="*/ f28 1 948373"/>
                <a:gd name="f38" fmla="*/ f29 1 948373"/>
                <a:gd name="f39" fmla="*/ f5 1 f20"/>
                <a:gd name="f40" fmla="*/ f6 1 f20"/>
                <a:gd name="f41" fmla="*/ f5 1 f21"/>
                <a:gd name="f42" fmla="*/ f7 1 f21"/>
                <a:gd name="f43" fmla="+- f30 0 f1"/>
                <a:gd name="f44" fmla="*/ f31 1 f20"/>
                <a:gd name="f45" fmla="*/ f32 1 f21"/>
                <a:gd name="f46" fmla="*/ f33 1 f20"/>
                <a:gd name="f47" fmla="*/ f34 1 f21"/>
                <a:gd name="f48" fmla="*/ f35 1 f20"/>
                <a:gd name="f49" fmla="*/ f36 1 f20"/>
                <a:gd name="f50" fmla="*/ f37 1 f21"/>
                <a:gd name="f51" fmla="*/ f38 1 f21"/>
                <a:gd name="f52" fmla="*/ f39 f15 1"/>
                <a:gd name="f53" fmla="*/ f40 f15 1"/>
                <a:gd name="f54" fmla="*/ f42 f16 1"/>
                <a:gd name="f55" fmla="*/ f41 f16 1"/>
                <a:gd name="f56" fmla="*/ f44 f15 1"/>
                <a:gd name="f57" fmla="*/ f45 f16 1"/>
                <a:gd name="f58" fmla="*/ f46 f15 1"/>
                <a:gd name="f59" fmla="*/ f47 f16 1"/>
                <a:gd name="f60" fmla="*/ f48 f15 1"/>
                <a:gd name="f61" fmla="*/ f49 f15 1"/>
                <a:gd name="f62" fmla="*/ f50 f16 1"/>
                <a:gd name="f63" fmla="*/ f51 f16 1"/>
              </a:gdLst>
              <a:ahLst/>
              <a:cxnLst>
                <a:cxn ang="3cd4">
                  <a:pos x="hc" y="t"/>
                </a:cxn>
                <a:cxn ang="0">
                  <a:pos x="r" y="vc"/>
                </a:cxn>
                <a:cxn ang="cd4">
                  <a:pos x="hc" y="b"/>
                </a:cxn>
                <a:cxn ang="cd2">
                  <a:pos x="l" y="vc"/>
                </a:cxn>
                <a:cxn ang="f43">
                  <a:pos x="f56" y="f57"/>
                </a:cxn>
                <a:cxn ang="f43">
                  <a:pos x="f58" y="f59"/>
                </a:cxn>
                <a:cxn ang="f43">
                  <a:pos x="f60" y="f59"/>
                </a:cxn>
                <a:cxn ang="f43">
                  <a:pos x="f61" y="f57"/>
                </a:cxn>
                <a:cxn ang="f43">
                  <a:pos x="f61" y="f62"/>
                </a:cxn>
                <a:cxn ang="f43">
                  <a:pos x="f60" y="f63"/>
                </a:cxn>
                <a:cxn ang="f43">
                  <a:pos x="f58" y="f63"/>
                </a:cxn>
                <a:cxn ang="f43">
                  <a:pos x="f56" y="f62"/>
                </a:cxn>
                <a:cxn ang="f43">
                  <a:pos x="f56" y="f57"/>
                </a:cxn>
              </a:cxnLst>
              <a:rect l="f52" t="f55" r="f53" b="f54"/>
              <a:pathLst>
                <a:path w="1422560" h="948373">
                  <a:moveTo>
                    <a:pt x="f5" y="f8"/>
                  </a:moveTo>
                  <a:cubicBezTo>
                    <a:pt x="f5" y="f9"/>
                    <a:pt x="f9" y="f5"/>
                    <a:pt x="f8" y="f5"/>
                  </a:cubicBezTo>
                  <a:lnTo>
                    <a:pt x="f10" y="f5"/>
                  </a:lnTo>
                  <a:cubicBezTo>
                    <a:pt x="f11" y="f5"/>
                    <a:pt x="f6" y="f9"/>
                    <a:pt x="f6" y="f8"/>
                  </a:cubicBezTo>
                  <a:lnTo>
                    <a:pt x="f6" y="f12"/>
                  </a:lnTo>
                  <a:cubicBezTo>
                    <a:pt x="f6" y="f13"/>
                    <a:pt x="f11" y="f7"/>
                    <a:pt x="f10" y="f7"/>
                  </a:cubicBezTo>
                  <a:lnTo>
                    <a:pt x="f8" y="f7"/>
                  </a:lnTo>
                  <a:cubicBezTo>
                    <a:pt x="f9" y="f7"/>
                    <a:pt x="f5" y="f13"/>
                    <a:pt x="f5" y="f12"/>
                  </a:cubicBezTo>
                  <a:lnTo>
                    <a:pt x="f5" y="f8"/>
                  </a:lnTo>
                  <a:close/>
                </a:path>
              </a:pathLst>
            </a:custGeom>
            <a:solidFill>
              <a:srgbClr val="C5C3C3"/>
            </a:solidFill>
            <a:ln cap="flat">
              <a:noFill/>
              <a:prstDash val="solid"/>
            </a:ln>
          </p:spPr>
          <p:txBody>
            <a:bodyPr vert="horz" wrap="square" lIns="81116" tIns="81116" rIns="81116" bIns="81116" anchor="ctr" anchorCtr="1" compatLnSpc="1">
              <a:noAutofit/>
            </a:bodyPr>
            <a:lstStyle/>
            <a:p>
              <a:pPr marL="0" marR="0" lvl="0" indent="0" algn="ctr" defTabSz="622304" rtl="0" fontAlgn="auto" hangingPunct="1">
                <a:lnSpc>
                  <a:spcPct val="90000"/>
                </a:lnSpc>
                <a:spcBef>
                  <a:spcPts val="0"/>
                </a:spcBef>
                <a:spcAft>
                  <a:spcPts val="600"/>
                </a:spcAft>
                <a:buNone/>
                <a:tabLst/>
                <a:defRPr sz="1800" b="0" i="0" u="none" strike="noStrike" kern="0" cap="none" spc="0" baseline="0">
                  <a:solidFill>
                    <a:srgbClr val="000000"/>
                  </a:solidFill>
                  <a:uFillTx/>
                </a:defRPr>
              </a:pPr>
              <a:r>
                <a:rPr lang="en-US" sz="1400" b="1" i="0" u="none" strike="noStrike" kern="1200" cap="none" spc="0" baseline="0">
                  <a:solidFill>
                    <a:srgbClr val="000000"/>
                  </a:solidFill>
                  <a:uFillTx/>
                  <a:latin typeface="Calibri"/>
                </a:rPr>
                <a:t>Asset Retirement Obligation </a:t>
              </a:r>
              <a:r>
                <a:rPr lang="en-US" sz="1400" b="1" i="0" u="none" strike="noStrike" kern="1200" cap="none" spc="0" baseline="0">
                  <a:solidFill>
                    <a:srgbClr val="000000"/>
                  </a:solidFill>
                  <a:uFillTx/>
                  <a:latin typeface="Montserrat"/>
                </a:rPr>
                <a:t>Management</a:t>
              </a:r>
              <a:endParaRPr lang="en-US" sz="1400" b="1" i="0" u="none" strike="noStrike" kern="1200" cap="none" spc="0" baseline="0">
                <a:solidFill>
                  <a:srgbClr val="000000"/>
                </a:solidFill>
                <a:uFillTx/>
                <a:latin typeface="Calibri"/>
              </a:endParaRPr>
            </a:p>
          </p:txBody>
        </p:sp>
      </p:grpSp>
    </p:spTree>
    <p:extLst>
      <p:ext uri="{BB962C8B-B14F-4D97-AF65-F5344CB8AC3E}">
        <p14:creationId xmlns:p14="http://schemas.microsoft.com/office/powerpoint/2010/main" val="1953727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11666" y="569820"/>
            <a:ext cx="12756443" cy="646331"/>
          </a:xfrm>
        </p:spPr>
        <p:txBody>
          <a:bodyPr lIns="91440" tIns="45720" rIns="91440" bIns="45720" anchor="ctr"/>
          <a:lstStyle/>
          <a:p>
            <a:pPr algn="ctr"/>
            <a:r>
              <a:rPr lang="de-DE" sz="3000">
                <a:solidFill>
                  <a:schemeClr val="bg2"/>
                </a:solidFill>
              </a:rPr>
              <a:t>VIZIO‘s FP&amp;A Accelerators</a:t>
            </a:r>
            <a:endParaRPr lang="de-DE">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9" name="Diagram 8">
            <a:extLst>
              <a:ext uri="{FF2B5EF4-FFF2-40B4-BE49-F238E27FC236}">
                <a16:creationId xmlns:a16="http://schemas.microsoft.com/office/drawing/2014/main" id="{E84B9CE8-5525-9F40-8945-F5F8D3C8C9E5}"/>
              </a:ext>
            </a:extLst>
          </p:cNvPr>
          <p:cNvGraphicFramePr/>
          <p:nvPr>
            <p:extLst>
              <p:ext uri="{D42A27DB-BD31-4B8C-83A1-F6EECF244321}">
                <p14:modId xmlns:p14="http://schemas.microsoft.com/office/powerpoint/2010/main" val="1332928768"/>
              </p:ext>
            </p:extLst>
          </p:nvPr>
        </p:nvGraphicFramePr>
        <p:xfrm>
          <a:off x="2152488" y="2001309"/>
          <a:ext cx="8315941" cy="45817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3" name="Picture 12" descr="A picture containing text, clock&#10;&#10;Description automatically generated">
            <a:extLst>
              <a:ext uri="{FF2B5EF4-FFF2-40B4-BE49-F238E27FC236}">
                <a16:creationId xmlns:a16="http://schemas.microsoft.com/office/drawing/2014/main" id="{D937856E-8284-459F-B980-A9EDAE4FC2F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76703" y="3453771"/>
            <a:ext cx="576532" cy="576532"/>
          </a:xfrm>
          <a:prstGeom prst="rect">
            <a:avLst/>
          </a:prstGeom>
        </p:spPr>
      </p:pic>
      <p:pic>
        <p:nvPicPr>
          <p:cNvPr id="15" name="Picture 14" descr="Icon&#10;&#10;Description automatically generated">
            <a:extLst>
              <a:ext uri="{FF2B5EF4-FFF2-40B4-BE49-F238E27FC236}">
                <a16:creationId xmlns:a16="http://schemas.microsoft.com/office/drawing/2014/main" id="{31C002F8-43C8-0C57-750D-4D3AA64932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51303" y="4537073"/>
            <a:ext cx="576533" cy="576533"/>
          </a:xfrm>
          <a:prstGeom prst="rect">
            <a:avLst/>
          </a:prstGeom>
        </p:spPr>
      </p:pic>
      <p:pic>
        <p:nvPicPr>
          <p:cNvPr id="17" name="Picture 16" descr="A picture containing qr code&#10;&#10;Description automatically generated">
            <a:extLst>
              <a:ext uri="{FF2B5EF4-FFF2-40B4-BE49-F238E27FC236}">
                <a16:creationId xmlns:a16="http://schemas.microsoft.com/office/drawing/2014/main" id="{E4EA5418-05BF-63A8-EF5C-C5793508F0A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49899" y="2390584"/>
            <a:ext cx="598322" cy="598322"/>
          </a:xfrm>
          <a:prstGeom prst="rect">
            <a:avLst/>
          </a:prstGeom>
        </p:spPr>
      </p:pic>
      <p:pic>
        <p:nvPicPr>
          <p:cNvPr id="3" name="Picture 2" descr="Icon&#10;&#10;Description automatically generated">
            <a:extLst>
              <a:ext uri="{FF2B5EF4-FFF2-40B4-BE49-F238E27FC236}">
                <a16:creationId xmlns:a16="http://schemas.microsoft.com/office/drawing/2014/main" id="{9EBF2DAB-5030-0B62-40E8-CD877E3B607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13221" y="5534021"/>
            <a:ext cx="654050" cy="654050"/>
          </a:xfrm>
          <a:prstGeom prst="rect">
            <a:avLst/>
          </a:prstGeom>
        </p:spPr>
      </p:pic>
    </p:spTree>
    <p:extLst>
      <p:ext uri="{BB962C8B-B14F-4D97-AF65-F5344CB8AC3E}">
        <p14:creationId xmlns:p14="http://schemas.microsoft.com/office/powerpoint/2010/main" val="24434797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5">
      <a:dk1>
        <a:srgbClr val="2B2B2B"/>
      </a:dk1>
      <a:lt1>
        <a:srgbClr val="F6F8F8"/>
      </a:lt1>
      <a:dk2>
        <a:srgbClr val="2B2B2B"/>
      </a:dk2>
      <a:lt2>
        <a:srgbClr val="FFFFFF"/>
      </a:lt2>
      <a:accent1>
        <a:srgbClr val="A71D21"/>
      </a:accent1>
      <a:accent2>
        <a:srgbClr val="A71D21"/>
      </a:accent2>
      <a:accent3>
        <a:srgbClr val="A71D21"/>
      </a:accent3>
      <a:accent4>
        <a:srgbClr val="CB2D0D"/>
      </a:accent4>
      <a:accent5>
        <a:srgbClr val="CB2D0D"/>
      </a:accent5>
      <a:accent6>
        <a:srgbClr val="CD0A17"/>
      </a:accent6>
      <a:hlink>
        <a:srgbClr val="5B9BD5"/>
      </a:hlink>
      <a:folHlink>
        <a:srgbClr val="70AD47"/>
      </a:folHlink>
    </a:clrScheme>
    <a:fontScheme name="Custom 4">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5A74180E823445A11F0C4036168F12" ma:contentTypeVersion="10" ma:contentTypeDescription="Create a new document." ma:contentTypeScope="" ma:versionID="b2deb309c47a83e45ca5caf17b034c24">
  <xsd:schema xmlns:xsd="http://www.w3.org/2001/XMLSchema" xmlns:xs="http://www.w3.org/2001/XMLSchema" xmlns:p="http://schemas.microsoft.com/office/2006/metadata/properties" xmlns:ns2="f319b4fc-6e67-4749-921a-39288ee6262e" xmlns:ns3="1b9b26ff-53ef-46c2-8e23-4d4295133ac3" targetNamespace="http://schemas.microsoft.com/office/2006/metadata/properties" ma:root="true" ma:fieldsID="54a9682caf165121aa82e85ae2bfc24a" ns2:_="" ns3:_="">
    <xsd:import namespace="f319b4fc-6e67-4749-921a-39288ee6262e"/>
    <xsd:import namespace="1b9b26ff-53ef-46c2-8e23-4d4295133ac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19b4fc-6e67-4749-921a-39288ee62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97cb30a-91a4-4060-bbb3-acb6087d4f2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9b26ff-53ef-46c2-8e23-4d4295133ac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7367889-f3a5-4f38-9a20-0389d9bd3fba}" ma:internalName="TaxCatchAll" ma:showField="CatchAllData" ma:web="1b9b26ff-53ef-46c2-8e23-4d4295133a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b9b26ff-53ef-46c2-8e23-4d4295133ac3" xsi:nil="true"/>
    <lcf76f155ced4ddcb4097134ff3c332f xmlns="f319b4fc-6e67-4749-921a-39288ee6262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0BAE448-9842-45A6-BC5B-6DC901825321}">
  <ds:schemaRefs>
    <ds:schemaRef ds:uri="http://schemas.microsoft.com/sharepoint/v3/contenttype/forms"/>
  </ds:schemaRefs>
</ds:datastoreItem>
</file>

<file path=customXml/itemProps2.xml><?xml version="1.0" encoding="utf-8"?>
<ds:datastoreItem xmlns:ds="http://schemas.openxmlformats.org/officeDocument/2006/customXml" ds:itemID="{F1E17351-0609-4FA3-AE91-D3F381DD48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19b4fc-6e67-4749-921a-39288ee6262e"/>
    <ds:schemaRef ds:uri="1b9b26ff-53ef-46c2-8e23-4d4295133a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D758157-7A17-41AF-9782-5A579DE8D157}">
  <ds:schemaRefs>
    <ds:schemaRef ds:uri="646dbbc1-0a49-420a-a1c2-95b505acc0c9"/>
    <ds:schemaRef ds:uri="c07f2815-229c-44f3-9bc0-38440da1e8d7"/>
    <ds:schemaRef ds:uri="http://schemas.microsoft.com/office/2006/metadata/properties"/>
    <ds:schemaRef ds:uri="http://schemas.microsoft.com/office/infopath/2007/PartnerControls"/>
    <ds:schemaRef ds:uri="1b9b26ff-53ef-46c2-8e23-4d4295133ac3"/>
    <ds:schemaRef ds:uri="f319b4fc-6e67-4749-921a-39288ee6262e"/>
  </ds:schemaRefs>
</ds:datastoreItem>
</file>

<file path=docMetadata/LabelInfo.xml><?xml version="1.0" encoding="utf-8"?>
<clbl:labelList xmlns:clbl="http://schemas.microsoft.com/office/2020/mipLabelMetadata">
  <clbl:label id="{65bd95a9-0b1e-4811-b265-086be66594da}" enabled="1" method="Standard" siteId="{3f9b0e1c-f90f-4260-9e24-f060b30e994c}" removed="0"/>
</clbl:labelList>
</file>

<file path=docProps/app.xml><?xml version="1.0" encoding="utf-8"?>
<Properties xmlns="http://schemas.openxmlformats.org/officeDocument/2006/extended-properties" xmlns:vt="http://schemas.openxmlformats.org/officeDocument/2006/docPropsVTypes">
  <TotalTime>672</TotalTime>
  <Words>851</Words>
  <Application>Microsoft Office PowerPoint</Application>
  <PresentationFormat>Widescreen</PresentationFormat>
  <Paragraphs>193</Paragraphs>
  <Slides>24</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pple-system</vt:lpstr>
      <vt:lpstr>Arial</vt:lpstr>
      <vt:lpstr>Arial,Sans-Serif</vt:lpstr>
      <vt:lpstr>Calibri</vt:lpstr>
      <vt:lpstr>Montserrat</vt:lpstr>
      <vt:lpstr>Times New Roman</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ZIO Admin</dc:creator>
  <cp:lastModifiedBy>Asma Asaf</cp:lastModifiedBy>
  <cp:revision>45</cp:revision>
  <dcterms:created xsi:type="dcterms:W3CDTF">2023-01-17T19:11:34Z</dcterms:created>
  <dcterms:modified xsi:type="dcterms:W3CDTF">2023-06-26T12:5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05EE72AF5E0E4BA75B025F47D153B3</vt:lpwstr>
  </property>
  <property fmtid="{D5CDD505-2E9C-101B-9397-08002B2CF9AE}" pid="3" name="MediaServiceImageTags">
    <vt:lpwstr/>
  </property>
  <property fmtid="{D5CDD505-2E9C-101B-9397-08002B2CF9AE}" pid="4" name="MSIP_Label_65bd95a9-0b1e-4811-b265-086be66594da_Enabled">
    <vt:lpwstr>true</vt:lpwstr>
  </property>
  <property fmtid="{D5CDD505-2E9C-101B-9397-08002B2CF9AE}" pid="5" name="MSIP_Label_65bd95a9-0b1e-4811-b265-086be66594da_SetDate">
    <vt:lpwstr>2023-02-28T03:23:51Z</vt:lpwstr>
  </property>
  <property fmtid="{D5CDD505-2E9C-101B-9397-08002B2CF9AE}" pid="6" name="MSIP_Label_65bd95a9-0b1e-4811-b265-086be66594da_Method">
    <vt:lpwstr>Standard</vt:lpwstr>
  </property>
  <property fmtid="{D5CDD505-2E9C-101B-9397-08002B2CF9AE}" pid="7" name="MSIP_Label_65bd95a9-0b1e-4811-b265-086be66594da_Name">
    <vt:lpwstr>General</vt:lpwstr>
  </property>
  <property fmtid="{D5CDD505-2E9C-101B-9397-08002B2CF9AE}" pid="8" name="MSIP_Label_65bd95a9-0b1e-4811-b265-086be66594da_SiteId">
    <vt:lpwstr>3f9b0e1c-f90f-4260-9e24-f060b30e994c</vt:lpwstr>
  </property>
  <property fmtid="{D5CDD505-2E9C-101B-9397-08002B2CF9AE}" pid="9" name="MSIP_Label_65bd95a9-0b1e-4811-b265-086be66594da_ActionId">
    <vt:lpwstr>81bc73e4-902e-4fa8-ac9b-b87dcdc4503b</vt:lpwstr>
  </property>
  <property fmtid="{D5CDD505-2E9C-101B-9397-08002B2CF9AE}" pid="10" name="MSIP_Label_65bd95a9-0b1e-4811-b265-086be66594da_ContentBits">
    <vt:lpwstr>0</vt:lpwstr>
  </property>
</Properties>
</file>